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emf" ContentType="image/x-emf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Default Extension="fntdata" ContentType="application/x-fontdata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565" r:id="rId2"/>
    <p:sldId id="574" r:id="rId3"/>
    <p:sldId id="592" r:id="rId4"/>
    <p:sldId id="593" r:id="rId5"/>
    <p:sldId id="594" r:id="rId6"/>
    <p:sldId id="595" r:id="rId7"/>
  </p:sldIdLst>
  <p:sldSz cx="9144000" cy="6858000" type="screen4x3"/>
  <p:notesSz cx="7023100" cy="9309100"/>
  <p:embeddedFontLst>
    <p:embeddedFont>
      <p:font typeface="Verdana" pitchFamily="34" charset="0"/>
      <p:regular r:id="rId10"/>
      <p:bold r:id="rId11"/>
      <p:italic r:id="rId12"/>
      <p:boldItalic r:id="rId13"/>
    </p:embeddedFont>
    <p:embeddedFont>
      <p:font typeface="Calibri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llie Crandall" initials="SC" lastIdx="17" clrIdx="0">
    <p:extLst/>
  </p:cmAuthor>
  <p:cmAuthor id="2" name="neasley" initials="ne" lastIdx="17" clrIdx="1"/>
  <p:cmAuthor id="3" name="Frio, Melissa" initials="FM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D13F"/>
    <a:srgbClr val="70B8FF"/>
    <a:srgbClr val="92D050"/>
    <a:srgbClr val="D9D9D9"/>
    <a:srgbClr val="EFF6FF"/>
    <a:srgbClr val="35359B"/>
    <a:srgbClr val="1B1B4D"/>
    <a:srgbClr val="00269E"/>
    <a:srgbClr val="99CCFF"/>
    <a:srgbClr val="DEEC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83" autoAdjust="0"/>
    <p:restoredTop sz="94280" autoAdjust="0"/>
  </p:normalViewPr>
  <p:slideViewPr>
    <p:cSldViewPr>
      <p:cViewPr>
        <p:scale>
          <a:sx n="125" d="100"/>
          <a:sy n="125" d="100"/>
        </p:scale>
        <p:origin x="-590" y="-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61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110" y="-91"/>
      </p:cViewPr>
      <p:guideLst>
        <p:guide orient="horz" pos="2928"/>
        <p:guide orient="horz" pos="2932"/>
        <p:guide pos="2160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6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522240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6" y="0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81" tIns="47539" rIns="95081" bIns="4753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81" tIns="47539" rIns="95081" bIns="4753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3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6" y="8842033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5/2017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xmlns="" val="3216531453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4" y="6283325"/>
            <a:ext cx="26130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1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510539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92" r:id="rId4"/>
    <p:sldLayoutId id="2147483694" r:id="rId5"/>
    <p:sldLayoutId id="2147483695" r:id="rId6"/>
    <p:sldLayoutId id="2147483708" r:id="rId7"/>
    <p:sldLayoutId id="2147483709" r:id="rId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962400"/>
            <a:ext cx="7924800" cy="466344"/>
          </a:xfrm>
        </p:spPr>
        <p:txBody>
          <a:bodyPr/>
          <a:lstStyle/>
          <a:p>
            <a:r>
              <a:rPr lang="en-US" dirty="0" smtClean="0"/>
              <a:t>The RIDE Access Center (TRAC) Update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5105400"/>
            <a:ext cx="3352800" cy="762000"/>
          </a:xfrm>
        </p:spPr>
        <p:txBody>
          <a:bodyPr/>
          <a:lstStyle/>
          <a:p>
            <a:r>
              <a:rPr lang="en-US" dirty="0" smtClean="0"/>
              <a:t>September 25, </a:t>
            </a:r>
            <a:r>
              <a:rPr lang="en-US" dirty="0"/>
              <a:t>2017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5800" y="4528458"/>
            <a:ext cx="5257800" cy="457200"/>
          </a:xfrm>
        </p:spPr>
        <p:txBody>
          <a:bodyPr/>
          <a:lstStyle/>
          <a:p>
            <a:r>
              <a:rPr lang="en-US" dirty="0" smtClean="0"/>
              <a:t>FMCB Public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8568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stponement of 10/1 Transitio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48531" y="914400"/>
            <a:ext cx="8314470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274320">
              <a:spcBef>
                <a:spcPts val="18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C,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anaged by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lobal Contact Services (GCS),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as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lready transitioned two of the three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vendor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nd now handles roughly 4,000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7,000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aily trip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or The RIDE</a:t>
            </a:r>
          </a:p>
          <a:p>
            <a:pPr marL="342900" indent="-274320">
              <a:spcBef>
                <a:spcPts val="18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third vendor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ition originally planned for 7/1 was postponed to 10/1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o prevent repeat issues experienced during prior transitions</a:t>
            </a:r>
          </a:p>
          <a:p>
            <a:pPr marL="342900" indent="-274320">
              <a:spcBef>
                <a:spcPts val="18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10/1 transition date was recently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postponed again until at least 11/1 due to remaining open issues</a:t>
            </a:r>
          </a:p>
          <a:p>
            <a:pPr marL="342900" indent="-274320">
              <a:spcBef>
                <a:spcPts val="18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dditional time will allow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 to improv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, and most importantly, will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keep our customers from experiencing possible </a:t>
            </a:r>
            <a:r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t>service degradation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274320">
              <a:spcBef>
                <a:spcPts val="18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BTA will continue to work with GC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o improve operations and will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closely monitor their progres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s they close out remaining open issues</a:t>
            </a:r>
          </a:p>
        </p:txBody>
      </p:sp>
    </p:spTree>
    <p:extLst>
      <p:ext uri="{BB962C8B-B14F-4D97-AF65-F5344CB8AC3E}">
        <p14:creationId xmlns:p14="http://schemas.microsoft.com/office/powerpoint/2010/main" xmlns="" val="377852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044062" y="5650558"/>
            <a:ext cx="7170176" cy="509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ysClr val="windowText" lastClr="000000"/>
                </a:solidFill>
              </a:rPr>
              <a:t>Although performance has recovered</a:t>
            </a:r>
            <a:r>
              <a:rPr lang="en-US" sz="1400" b="1" dirty="0">
                <a:solidFill>
                  <a:sysClr val="windowText" lastClr="000000"/>
                </a:solidFill>
              </a:rPr>
              <a:t>, there are signs </a:t>
            </a:r>
            <a:r>
              <a:rPr lang="en-US" sz="1400" b="1" dirty="0" smtClean="0">
                <a:solidFill>
                  <a:sysClr val="windowText" lastClr="000000"/>
                </a:solidFill>
              </a:rPr>
              <a:t>it could regress without immediate action by GCS</a:t>
            </a:r>
            <a:endParaRPr lang="en-US" sz="1400" b="1" dirty="0">
              <a:solidFill>
                <a:sysClr val="windowText" lastClr="000000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kern="0" dirty="0" smtClean="0"/>
              <a:t>Performance Dashboard September 25, 2017</a:t>
            </a:r>
            <a:endParaRPr lang="en-US" kern="0" dirty="0"/>
          </a:p>
        </p:txBody>
      </p:sp>
      <p:sp>
        <p:nvSpPr>
          <p:cNvPr id="30" name="Rectangle 29" descr="Enter Chart Description Here:&#10;&#10; End of Chart Description&#10;DO NOT ALTER TEXT BELOW THIS POINT! IF YOU DO YOUR CHART WILL NOT BE EDITABLE!&#10;mkkoexcel__C:\Users\nlarson\Box\RIDE Knowledgebase\FCMB updates\Chart Data.xlsm~~zzMG_Chart30~~a1406160-1341-44eb-a49e-77f5f087f35c~~636415196220022596~~$B$1:$X$3~~False~~True~~Falsemkko__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TkYySLXg3TSIe7gT+Jv77Ulfkc+ogz5x5K8JVbfN0l0653HQSkRUXtFmnuNIq0lUdVVaLejOLopEis6BersVSXhZTGh1POzrz+3x3E4OGEVd/YsEm3iRd+pSSMWYWTNLfXQ5Mjwn7xgo5OSFAK7GUNpyBoOND7x7mCy6uvszDE7ipSrrr9ypEcSxoDN3JeA4jz+BYpoGafI6YmzwKAOz5LUpI1UvTzuktIZOaboUNns4JWcidw4PR5HaNLdRQ/fL1f69fP4YkUqUfNoUKYQc/2VSRiJalFjhaR2wjNTJesQC8368eVIX/1G6XoQ8LO3DR+4nOI0GrW1xukrc8aGOreIyYCdC++L7V2jefuZjMaL2GF59w9DS11OaMfCgttAo1HyW7bcG8C/ks8QV3comCt3zK4sVQ5mgBboaZImB3mq8nx5VvNuZ9JFgIbAWu8UofZTRANGXLHyQelJWJGXgwzDmkM27CmgMGE4zFLmnaC1w/T0sYIFDeCEpKEDA5WbB5/8s14yAzPlKC4AcdFVZ1+fe6k4Y5VXIiPRj0cX9NCKlXD0cEmCAseFOfNUjfF4xLySDNeFxx9SJoHxusOfUc31nDQr6oWXxsLyPxVWFXzVw2T3QFkRYMBs2uUzrcvfzNI5dVkg5nHO44OK1Fs126IstDo8uSlKbstYbm4R1WyD7yFTc/mPuD+MK70sOjbFXscbzAyQRK60D1yJ4owBet4m8lbVAC6xthe6+J03r/uiAmjXLeH0HrjxvtrOjN/NCKmP9R3lzXtiRqthSG1y323A8tJWGevHKVw/S6/ltymM8smTcwusMEYBr16AmCvtg/j3GfbRTuko05xcD+afpdLYYF0CmaX7wNgLA2qUvdBELVr2B/mh3EuxAnJYSLRsMf9cXFHzQh1PuODngF7SYKNMn4pkPHJwgCbUxzD/wZJHUjiV+aKjggdHg/aI/Y+LtgW9q7WuhqHQQSnxgAxysdVBTXKlaxCUGih3VrvWgxM0TcKgEk1s0Yeztrc/X1vqSzk+GPUyvJTfj69WZ4l+TTkKQNNEnDVSirqwNA18T86d1AT7dUeRjbz3ZU9KHuNOhoM5tGZE2YAfQWKFY5nI/tnBCFZkTuUIKvacKrhweTI5PRfhQvyL/9MYADbFPJ0feb/jpYBg65Y9rK5NxOeEH1uXJriFHiZLg0oZ3gnltfZUe8Q1FlNEw5ECOswhtV/fyt2fFp2mn8f39ZRPaA8Sxrf7A0K1EgFpO3/EPntEau/x/RRLBvPXeukP6J19PpopT3PwDBl6ISjy03kfgHPxAT8jkBHcu4QuVwABQ/i/0zbBkMO6iDVXISg0/K5eXW9rNTkwWe0pYXh53mg54vX9m9AmmEmQdyPpEvOg0FGHlCTDQSAaivxhjWGYhZ1hQzgh9Q60i+V8w+vitBYrwQsDHw31XGEwYgPlQOWjDDk3fOYfaeCn5lSrbcZ9IZjdZhcOGAEOYijvrhpjB1/S/EOL3yQCmWDydSWH7irgwoUwBJc77Q1sUKQvKn8wGhW40kRtuwn+ZAJkWqvYEktl29NRwUDJFw0DmSLx7a2YqsedTnciCKmuJDIxWeLnaIJa2d79c895iUTcRNbqD0pn/qZ0/O+ub1eIe+fQXXun03uTtAHpaBov+huqAiDLuRxNfjfUy7kqWJyAg+F8ogcbA9XNUSn2YB6o3KPqD0BHAL442Ini4GMv5nU8f7K3s0yVf7S43rgvXFCZ+5IrImrg7QxwvOoA4qJgAz9ARuGpZRFlWqfz2bjRwH34XZGCf08/O7isQNQrNKy5N3VhZw/sMDR2xOn98g2ijC6ZQ6sRgvnPzw30we3i0cuIYp8TuhMl60iYwBTK1DBkunVMqv0qVGtaeRODSpBL5sNa8XXThVjVPC+o740mr459RsZUSW8nvS9uyGwrl4vU0Skdm8NnRiY+XY/N2b4STS1mO2OfGY77XQLyfpd9HDoitR/gWh+3UMYpb8d6uVoLAbuMQPUm4PhIbj3IkkN1hJWQJcZLnTT+BcHDL5OUZ8xnLKryuGRetnzb/lVSWz1Q3R9Sh6A9zEwHAkjPYJVfr/5/yyIeXOausMGx86HfVMaSpU2LxpKi/sCavlnsogScY9ALyPuWn//YdaEK/wJHFaR6iKXnvPdFMWxrj0D704uxGs+3IGbjaN1L29ekf268CVsTdjjUY/Rn6dv+Qs4gnVbfGTA81ChcMxhQtrvk2y5xiJ/sq2HS3ZqN2w8yq7hLxK9PHD0Z1fplJ8iv6NxaqRNegvJau5UPcg8gpOfrdQ6UxADUBDH9pH3k169zE3ug7XXb4B0A++TXxok1Ymba7c/zKVESVyfnf2HTBY32Fpsb0U6fOk5WfaMQ5It/QQYpEZmhBzwM2jdtXINez+GGiYnBYJ8ceUzG+MbZ+K4PZJ6qCbCAfBhPmWOStW7qvt6V8JhGdY9DEi5XgN0jQw+XU4niJwDEbklXuU7stK0hNMwF2JVQjxkkVjYqMKP+uTx3dRrM1jcOjws4lvFbb/Cdw+uM3O83tnfumZiijTW3IDZ8rt1pbob9e2klEx9SoMzDo0kGSoip8vH1zUiOkpT7Wm/fUxXIUWROeCW0vUQiQcEKfBkULWtn7cz3g3uoKDkISMV+ySZNhqVdgv0X0ouJBVMJwPUED44Gg3VhBuV9+Q8VpSJwu6DwnYhh2vlBpjExEmtIcSNPXnw/AvYgFHOFJGYUt/pW/GUeGmC+VZ3mED0k0tnT4DFhi0+N6b77DDFVtRJnyOu6WKmxK/33kaNlrFsEWA5yZW+reN/87Yw7ckhbdAVC8oZNKq9E7V/h+IQuOMy1F4VddDiOf5JRorIVp1RSw7dKN2g8Ma1cOmhJ2JoZC9d2G9ByQ82ZZpFSU7FDBPSJgnnciIsuUVwfW4Hswm+pYYth6aQBdHSWU/3zuSQSqNmcqxGInMoOBG+93rV2fKPjas/JY4xYpjaJD0xg7w3uSmwWv1GXF9cwJhQLwwCi+OIIPneE681PnEmt9sF7TOMVarVTIYeXAYajzigiB7bFs4z42rC3qO+HfWyrthDYcczEmkQKVam5jhx6BQ1i1xFuLXqpF7/+KK5uEHavDXm2kPqGZJggvMU0/L+L9409imbTYdcSlF4js9IplI/+YUFonn3AaKFRgPQXzP5MSI5wsi/JsDkThD3EO0MxwB0fxPr6czdSwpgbmLmlepyej5DrBc6SzlhVYQ1X8cxlsm2ejArW+/TzrBVnrDU3LOIn2o+GY0IfPc7nVehpbEabVD3axuRddPXUOduNeIT/4VSm6wBuA6EKO4BMR/VmbsfomMNUjrxO8v9pULXwTqHQQCf2SieYSc6VBeVuOPwk4CoeQYQ4gv0AFnGl6uZgWk0rR1T+51g7UtFkGeyccmGJTiI8E8Gk0WPU51qjgPZB4CMfiEToftv/GUIhTLqaYUfpRYtb72h1wLlkmQb3jYSq83KBdOOg8lVdpn5tR02cSMcRIB1qB3Zpj/GuNI9jzKzJhyR67yoEqw++ojCZqalz0dfkyJmXeDNdOAbMQvFVb92JRFLIC1aO3tMBftdfwnKlTnk5e50/SVdflBaHi+c9dIbJT9P9J5rVB7KoIJlNDNgqnIFKMeRWBob384LHbsE0czHxXU5HkL6dzXGfquxv2aXPgsYjCzo27WpoIeNuVMjrzWnaW8kHqG96kT6zldycuLrEhHXDWQ8zwNeXwXLWsl4GNKzNSjvi5fHO+wiAFvC+JxhQdA/NKKfX5HAkYv60OTo9ZeR6Cwiq2Lwt5vbLkTT6mJlUl2Fv5tV4UrxoY+SrQZNY5AYshMNHeWvsbx1T8IQT9KHC/KBL3HYAjy8/dpJBdwrcwLNXykqDmTCVRxLzZWSRy8pu7BSAFQbb1kxTZW4B8Gop2CcImzn+lcEfoJc5FBxMs90JCVhjOP3K5EU0X72upZfHbP76G5OftbcH/dmg7+Ex/SYlQo4zffxRIGYZbmvIL/H/ZUfn1zGIoumFiZiggQhLOxpT6k0Kxcjm1inaKeMl/r4RJIxXTcSqz1vHMzlGu2B1sI/iGK1mI9BVfqv2ivrxQBej/kSmQZ0pobbm2VtkbwiAVdv7GsZPIMkKPmHJj+gfDyKOpYTnI+EQ/zINjHDA2Bbs5MzuC6yeLgdOJIftnsW4+sbDvjkMiiCwKa0kNvfK0Uc27x41WyKKh5+PKiE3SJUJMh0ougTStCIOxFWAwqDWw7tFjxtMcuEpnNBaKWqT519jbUjjKy/vXNNzwe6u9B9ARR0kEQea3+VYa1ocZTM9ne83T3MDD7jHZLFLjQrEZ090oQ33QP8B93JojvQG3qsDL/CRiqsyZqSmIujZo2AqaLSLYk4VsscgQmBqZUoO7xsPvY85uXDWM+v2kQYM+7WVVCaPfWlZKLeFHVW69q67yFvIyedvtzSztrOlsHg8iJSpdUupOshF5GPordXABy3l6y5fnbLI6wZABm2NjgjtKFpHoyakB/+hfcu/p1KJE1xZr1KSvpEfFNxHetq/sNj17PmrW3UzafXXiPM5e4WqOaZC2ZjUGL6BdzpHq29u4a7hIgv74XB1p6eiGKkhWoDCQU7B987whSoP30SZzfFZGCqswwq7LCAtlbBiSF6rWqBXDhoAgf/W1jTRk1o6cQMrFMgI2FLNvTR/Bz8dExT8WpNhYOBZ4CpDU3mGRywrnM5iMH2Txyu4LbyNDSTbKB5LoHUmwH3kOaCC7wUV8GbdNgUJiI5GMD+LzdPcAElKxgTLsJZIWq+SYjeripzvRzFPh898l4hDBXM4omZhL326kJUh4wUN2LjBMf5iUNUarMtM0Z12T5qKZsJgOa+rzn7q6+9EobQNlfCLtslf9bjdiMsv8SyDmtv7JqJrnX9N9NZR2itO8fbkVI9y6aQrec9SSh8jRkaoS59JWe9euUhuGCqrt1A6YkatG7+Qq+zzuw8rg317iY8VwtvHWxdvMYl1/9ygBAlPXmzFRj+5D/IVEm//qo0+CZFB9TcyHTVeCyFxIUhdkGVKHwtKwf2B6CaZfzXQ+2c9R67+58qUWWgQ1sRrPWHSPTmsbjs8ixnPAVUWs7/+sJYayKtEUw+WD4wF+WJJB8cQ2cLSznAwqfDJbev7NiW/QKfbItt+WKkbd7a0UOY8wRcdRmJDUe1yvRATY8Gozz+N4nBKVNC16qiNlw3Ad+PH514lmLu1jxI+iPLg9iY+z51PulSuI292vOw4HatDSrKkZJDX8QTOhmNi4NQVC1QGJXcMZ7SBki4X4S2y6SsIvSiURR9Udvt9VdglpKjn9+vx2A58HyJ06du5sFVXn3rFL/AK0GrWYFxruCLo8j5mKabMzO60TlRFa2jHGzWATiXmiyyhNKi47+7L/IO4WR+YgRng+X3Ge4d5Hll9u+ixVNWGQjSiPtu84+kQKPl7mi+TPRQir03Jg/3LQae1r5rzkuLzQ019E5sdSEzza2nlMeS2ME+NHcwa4wl1Ye4rf88vFLJWG9B400AyBuonOXBlUJYZ9lQo5TIpjr4C8qa06qR6BUOZYZ/UUXhJ6+yM04gSgt9W34ulU8+uTTuo0HG6hapnxFalCdFZ1Ygbw9XjYPKaPDEkMHU5Mf8PdFw/BnSBjn9l1Y4UGojpuqZMIbsL4ZgGVAkKOpdJvPbwck7bnZDpfIeG8dHoBQ3djnftqD/BaYvkWxstgoQmZEUyRgUVLy4xZCmyB/Is2dg0g9dOOE1N4/kBorwr8PfXQwAJlCAPpsT5+C/c94Ma5Lj9qwUbhtglSN/zOnn5GG7bkDqtKJgOLDCroM2EvjT1ODOOh73uUWD0YrNchK8/5iZySUDZwRh8SSGzHcyhwFMdlm3BTb1hGnXNI4vQYkW/0spXgk+ejCg7MlsDROoSa606W34OAKHcpwRfpxCdpo8Gv7oWMCQ01yr7KXz4cfmpb/qygXcmHIUtABqe8hTi/PUT+coBUcIwAs9z7poRk9zj/5nXBNp4LZX/MeIezAWFkKWU1TEuZ0bj6PM+TOO6Y+JXOBI70aj65nB+bFYkDkqc2xRjVgozUsBhIu5WQ350PCozkvDFOEHnbiabUfMvBwNGgsg08irksQCdMUZD9JvmHEaRFxI2rY3jV7SVBPe4EIS5jkLUelOz/eGMp2xk45vhzWbcEHGu1SFmg1+AYw+/yxw+u7QRmBdStBxYv09Lzn9xYMT5aJIC5/feJN7pDiYhoV7kL24K9WWG1HKnHA3ChZAjflGOWdjuy4ddJetVgYr8Rv0CUbZoVabr3AEWd7DcL/r9WVvdmyYuGS6BCjd/oauNXvG2SKXi5Hj3HHpIrSh8qPSUkvDqjy8MDn99hKtktKOQ/5LhNJfWWfP0dviU95DuFcRA6KlQYb084giQLlEMyPYqfFnnpWY+0EYiILTI4F2QiSNTAwMt5hxlSItbi2PZCaZBL4w381bFoOgmrb8bhPIopRiIHPGQN9iI1E6GxUSTu1Wk3cNycTbLbHijDTcMNlIE9RjXr3Qs2kL1s7T07mh8R4IA+dY0xCVAqdeJpfJcB9Z6A/E4egsn0ZJXA40Ai2ev+3x34OQsPauZuTCUhY8ev4uAEoCHuGwIyX1hKOJXb1IwkapFpjYsN9PHI3ZqLUronBDBZ0LcxUR6FbrVcOgYMRTNCUr8grGIjuGro4fDaGrw35qaCcEeKlM8RgL9lZp1srxBqv6Kn3T0wrdjskQpOBx53P24CpijcuxCg3RapSlKN/a8o7f05X3POB2ka+Zi7nIj39jWDxOqLpEyszgul/L0coaIw6CgarSXtEbrK1O5vuxBvP2uCK4GOzTFGUGWsyqjgntK8nT+y/di/g5Q+SAzqOYWfIq8Uw8cJcaM+bmnDqwZka4xF1hGyn0Lpjn1KblS0pF+x0Wh65CRFp/sGLZ2yYAmCiezeVCWp17RAnxuMAruG9LpKInHutwCwDr7XZkaeWoQjx/DodAQbx/ee21wqp09VqTKUAMc/5FYc5m85eescKQv6JhZnXyO+/NMjcY5yiC3aNdPhaHzTdBzrsQe1nC37gcP+uHmbNpu2gkwLuhnfyqlBKyUeu+Nf9Uk+ycNRLcjZRJYsoJqTW9PQNS7puop3S1CEp41T7MIJD3YAs8QZRLJtDGxDTksPkBtWTgTgtkSaljGFncGM1X3cVPA/Uw54OSdEzAZUI1UWBkLGr/ubbVqcG4XdOFsOJVat21yevVenHQGwt0CAma4TNxXc1y/63y8Yo/EYmTAoeqAkMKha984DFIEvr75BcB8/rHGwor+JRN0NLhkZTKL9ioW9DeTxEAYJXBgTjF6AXx4ahrvJlvfIYcb4SipmRxWLw3TXG01/U8F1GSiM2Bz35DjNjmEhEu+5Naq5AXr3WZPn52LO1M+9TLbSqsHpn+YAKYkj2Z+UQy+nxa01kOnsqJu7/t0w+xoVDv1oVplC4JQ0pcLEDZhSDpYqByIthuzZYlUmqMzbkf50VtJ10E8KGGZ5eyld8UTAQYlMj+PY3rKuZGx7aNxWi9Hd79Q8BqtlOmf937IPhKPcudf7LvxcPRyLTW5EsgSl7cRSMw/9jrM7HUXTeKdkIEl3NsVQADaW3PLtNingKBQTyZ7FUbEjoDunmCFKZKlIJZ0n7v/fkEEjXyhVUUkEJocoUFwQDklIkg5K+g4L3U5OP6n7n1HhgUW4cG5hEWTZhkZI7AWU3Jfygp5XJWIGbu91h2m9Lq02CmHqw7xfeRx0Kv1a4ijinK/XdP8m84qIC/U5iOtZ2w9ET6zhx0No2Iyyx0KLLkC+UY81oSCBcTVbW/5wRhDx3Y451uy8TKpXrGIu8Crr54UN9VQ7Kix8UPEpVN7CgdH3BXdvoYYuHE6pAnGw8WFsIVO+Q9Dq7+ws+9XkiXyl2Z0AtMYKSWLzd79265tsYR9Lwr0t1q5F7pLfNT5lNpxS2tBS3Yq7qLWAQB2cN54gQv4roxZliBFUdoWVpatsFyOABt4Q3k8v3Za7mOJpWEQgoIuZBs/yV/SATgWocf3mGadPi4uTMa6lD2r64+zJfNVQInaxsjv91cLM2HBJKBJYhjARO62Gu7bLkDzdrQ7WKrMsscTCpjgORrMnKiLJSEglDmFdyEAgpbVsNNw8LWVWx8yBDoqmZpLjY2mHPN90GCgliD3PvPNjjybVMEdYtFQhph7a6Im9HuL54BYP9wgkvAGfGm0GdKJnEmtf5ybPODcg82KQhlyp0mKgeWgQHT+LmqY4Tt6GWrfbY9qq5D7fi4GCvxsU949gWZUGka59/6Q2oDL6C4faASAqMAgL37B6wufBezUo0+jGlP+2HZIIAGjS0EGPsMUzWRONjudSUY4fZAa13Y117dhwLkJN6nzgVdjhM/vFD4S0r4RsVnWT+U96+vXWIZi/R0ryw1CZ7NFKNEwpXM9yPg4Dl850X16BGB1RkhdxYMDbcpePSXwj3GtqFP/+wcTnxRXTMEew5NdBf10iquK+fTiWSQKqsWbWOs6v29l9eRtEMC/MQoF22FB2LIhnVmduqLbTC5CiMCFqlstxqRxca+ZEU6cLLhOK42zLZiPZRTekIF7jYzCCCTpTZC5RcKoji/BLh68+dMP1SMO/63UDgdg3uhcldZFJ1VplpKPtDlkPUAkH47i/0tSUOFmBTsPKv8ZeN6KHEKGM+Nw/FTmztny4KTuZ4Iy21yTL8UN602Juh/qCn+Vwhob+Q/HAqZhMpbTqn3dhRI+xVTmKYIvByJnlk3CeVkB/ARbGgnBjPsbPEI/3xjjpM/v2qmVJKqQYC2MSPbrF4GZo5SZdo1fjFvRDkMxwzGU6HmIHCfVV1ITC/f9DWhsfae4CE3Mddsp0UahUwX4hrVHZSysWaa86UG4C8gOcg+GZovJf1jcxzKlqnSZY4ODLTEAv/p0CGCGpOl7beNrinpWhNfbi5cExdpsT8V7X7wpOo35E+s1IyHZdVoqayJJ4ggMbumzK6iJSkHOT37zUv2uvXQ6HdWSnicvT4Bk5+ggT1CLVMspq0xEwrw/sEwGMCI65S14XGB+SFK/WU3DlCbppy9cKOfG07W7Q/wq8oZMY17fSRIxzSvYo5GJsqhF3Gs1CcrOAaU8lysxOsBArBIHnvgN3JpoLONIhVxSYPsx0SW/fUgl7vwcUw5zEtO+ptW78ApQ/WLSmsNoyVdrcn8EjRby2qXUCnWP+Ig4WpnC2MfYPBWZeU8rxpkAbl8nVaozTU8rhYP+MFjTdf7vQn+853VdhEkORQICSQSrEtbpVPofYpgkakZJrv1alsjiMCJ1SDm8vySw97sNT1EEiXPLvGg0qQHzqeCcHyn5BkSHUS3oMaAEGp1SwnFfKQllMM7snkaOdirtHgg5H8XyYjnc/dCDNucv7Np1gUkpv/kEvQpokHAunmbbhU4FfsLUrvj/1u4MA6hM+5FAulf92gQBkqvfQFw3ToMKeYICsg9qooBygByA6RItoB4nOIsvvyv1vkHxBJ0XGMhacIFuz5WZuue8uPiqyqIXRYUx3bY8H5f9prQjaoToLpJqXxhXQM+U09wOIS/605RK9t3nL9OteweGIg89mAmEvIGJLXqrag3TUC4X4SuLr97E/2hTjmYE6E1o6oZK6ryDToqPGzugIk8Z+LO/EEhOGqT3aRT2EdL40JNEzVVwv8dYEvyANiuDASwEF+IzFuPJkvAFv5YBxysJiusfhesEsdCpHALb4agmv7e4q7KTFvKzLHDicy1DelzCjOWQ5pgmzBACqYMLuC7+KXAmqUfOU/F2iS4Q/ZY8yEPZHsG09tdLDixjMiFSTp2kY8pvbe3AMgATd8oSYT4NjMdq8rOS+eEMy7/mflw7flzsstXtXcHpTyCW9wILf2mows5qPlWSW2ImZiAb3C24ZXhvkjCBa/+UD4on5rE9xhLlk7ot9D1ywSOd4GieCz4escOgww0eUWOVVZEC9UDjPXsOZDvkA4HHvbnghNy4HGezANvYQ7Ymj/pAaXLhNjN0Y5TQm24iwvkTbgMBdu3bDm9odlgruOqfQgudhtjCZDm01BiqvIwaJawkViVTN+bHi+A6+PFy7jhlHrk01pvQ7KFvDVPXhtODxoz8K2I1smpOfB+xSYJJzcu3vgZIGa8VjZWAkDKbHTQ4dd1Kr6H1q68iZ8w8rAfy/GJTHJKGSAEYh+2qkYiUUt5e/rTuCYQXuwqXc0swPRwuQovS8Ll/Dvq2GHwiD+9aP9wFbaz5rlStuSiQGNizJ1+CsmTvQUXMpNJFywN6qBgRwwkzK+D6+DTiFY6P388E4s2RPwFs8oVZWynW2VqYK9vlWfEXItjJoAkt55Ar9pXNO4nNxeCAgVz2nQns449KndhygA4l/kkE6vgyZb+nkjQp0vsUt1ziWeBU6qe4iA338hHnClLmqQRscg8eZr2kmKo2yTbJFpD/EPL76dYxNWmSWo3L9WZztQternxJCHMIx2XEiwQ3MKh9didok3C7JqI9iJJfPD6cJ1HcJ0kyLQOku6LJQPI0xkqQ/wce9wnf6jTBAjvBWmdoeq6wjihO/kDtBgYrFTMco5OmBJ9+5AKAWwgC1xAE/d6BcvMh9G4v5nhPLOHkudYWA8GE2z4sajENsoWy8yakvlAp8MqLbCu0s84+VbFhbWH+37fkpSN8mo5RWuLgNOwwD1leFR2+we6NoFcMGoV2SH0MuKg6yi/CDtSwJ1XsXM42XAiMcnDdq4jx2XvsY0c6Jk9H2fMZ/9ihrJRK+VIfKeXImR6+usZwx1ppuHKqxmWwD5MATDyEzu9jSxjmR/08RaNVPHN7ULryPdxWBz1JYDOYGA+RHrNe47P4eJDW53Ol/nx81+Z+y6rDhghKGt11oxBdyn181KIwEUCnBZXw0BA/48vacXhU2saSjSHgDHeZR7uogJPPiNXPuOSGICMw7U1WOL/0A3rlxlT4TklX15d4fqiJkCo/upNcFpJ9CPcrvgAz7/u4Amxe8fKEW/CttG8jSNrq3TtH6S84GlX1TSG1oqPabg8GSv4jbw48Slvckmr/q5PrA/rh6/ISTvGKYBKujPpr/6rHcrJf1EiU/0sS3e+9+y/HRRnT00nUKn10am4upcwnXhoxT8QpeCpS7AfFjH7zDrBlKG1g6OQ2zvEZdKSDqK1UrKeEkYHNWA8gtH7IluRAZ9NJeCYcEt0FHfyudLk4fI/PMkDbaUg40DSwEr9f2mMpChUm/PIq+HY1NEa1YKa6VSUxDtPxhiQZIydwlvyZxaBUmQ/jTijibr8kquP5EtQAvFTXyYJZRk8afQu8ghweG0UR7YDIPeXHO66on3YTFTM5u8a6IbNDJIgX94LvU1wev1/s4VHaKbJWRhYTLXr7lbAlc7DPk984VONuI3pcW49qmkLsJCQGmWcYUtvyP6g8TnOgjoBudAqTRQltEi70jwNH0pLbIBdTk8w+iuBqcdnjb1BohsexlXTImVsEYTTgBKLIxU0jPK74M0QM37OWrMvtaZ0Pf6C7wT+IoVW6KZPt4Z9d8gPVNelTR02KxdEG10IF2qH40ZHIU0L2K6d4DpdMUyBq+ganRDjM6Y9m/bXlyeXPWv+A8OSHd8Lpbfl7m252IKIL1XNMLZmiefOyZuY5IXYPBTFHhoUN8+5St2S5tFCKA83VOCkcMqYNuXWYD9ZVAjrYXYUqu94m9fjV+RWTN9lC0z7zIy3GIlnIYwAtgpij3owSLMP1DLqn1hKxHvcwVgxc2RsqSOJvJSO1OUeVPRNO1aSLRba2cIAVtOmHb14rx8zTx41gm2wuM46uT8BcpuXYGo5FZxRrBkGxpP8bDWLfPbi74N+hl9PTKBzg+rLLaFhJGFWL3qFFBDtY3rumYK+d5E4ZJ0xY2YTlSxhExa8IVeMQgbmaJaS3xxpBCE2BUU95BkX1sJs+zYjaoHMBJ71F1M2gqWDR+X+TCNOLJimbdqUwTl+ID+bD4yone2/9FqdFmT0+S97h5JvhwBvtKiJZtnedoQ5NHaCcj/v3aHp5JnlTJfsT0kccSbwRr3+69+pMAVor9BZRuzaTYV/6vG0qxmfezKDRNktphMiTKYC0nSubVE1ygqyppZGrvSp8dTkLbvFE4ydrlRp8auXjcmC5sFcnGJsyQAbYqKN0kEM2WSIp4ZoGOznEHM8bEINT1hMGimd2rHsurLYjMkNUZWnWH0i1Wjt6yEdhHJzCuVBEdid5gOTiRmtvxY26tl9EZFNhNufeWdpAq1Zr2p1mt6P33b2Ca2fd5Vkd1C61gDB7TCFvtKI5H/2PddLONPCSxvJbBP1vS2XsuVMo/5jgSLHecesmfp7UJhAU/2btC6PlZVs7YVlK5qj/1hT8DTYUC55MzWsagu+0QpzMMzRkTT81g3jeNNUeDOUGcnJXRNvoJipvaWGxPpbDE9cVWahkoJ2Wo32KPQnTZ7bsToVveYbdkKogJpiivIrwcainiU3fLIycl9pB1FVGJprwW5laD+koTCPymmCOfprsF5XaXiS2WGOGzLbhcTmp8h6Eu82LkEPCCpFprq+7d0pzwa1VmXvKl1k1h5fP9rCn1I4MEacnkd/IDk6o8iFcWJAT26JkE8kbl98gUvvj+zQS3dWY2A+plYmpCDulhQjIlSDSgKmzSXNLqi9lID4WQ+BB4PeEDi8gXdVPHuXOyhRUUkXQzPDengCW7pceGhrijpuk/9KuFVCULPaGJaayRRsGjOEYohFa9vGAw6l05SXhViNvGnHLNiJlqCAfP/KRDlighYiHvAD6oIrFUTRPTjIhILIfCdqtYFqMKS6Px8aS4NAhszVAl0yG8hxgzI7qxlIqKzxrDKX+zQ7tfQf/mXnGEi9m+0awe/ZAcDklOSXFQDN4v3IgXUCGXm4mZpzWRZjjuglcitM8cjzsm6oSD8B8qxAvd3jSSqU7RwWSa3WZcoUZtI4Sgmm7IQvxPap4dJ4DLeiqjDqpAzJMvnIXo+vIc076376wN1vIwljW8yoMnu3uBcoz3G+o3huu+AF60URFpH/vEnJpcF8E8jqLuFRlzu4/77QLomk7GHtv3V6bMeAjc+ublKiAdy5ulB3SpiJz0a9Iwpu+f8V/47eu9kLU2RwU22eHQO+1HJkMX7csWxBBmz9SC3RAYVc9LT2mJuQbLgH5NPEAEANaL+yK4IEbtyjQnL5rZf2OcPITjQQOYSJR1k68ccKNbUsHx6hjWyu7/lZpzKMMw8xkafcWnh+XRlYHeZBRKj4lQT0swtH0Rjc+iV88/oNf32blglAYs878t1cQnTqR2+f9D64PHVwQN5mgt6wPvggBgaj7pt6VGsVMb97BDh1FqhCGs+CGZvjcxGkR1yXsdDtRmy5LtFZNP+WJkMJPvgny+6H4SRAuwwmwun4wglNtNeAbRvZtGds2QOVXsfrUbbakp8sB5MPSb0prRMS6iUCGTH5E3z6Az1bTqNGZxWXoSmWiLv68zCmkzl8XkvGGfttcec0IAKaWS0qmBtBovsoiwYt64Oehq8bJqHs7c38dXu7VjBjOgq348nhlgrdH95xYglwOAhz1IE901+wh/o4m13s0GxDlb8jSziKkHHepOuzYaS7zYg+Dl2wn10hSX1jyP9GT4XaPM+V6dedXe4N1dESOffZcUwLZ5pxw+1DzbxY0MwPf3MPvBAa4CemrAW2HluXXCmwWau8vccJ/rsqdVD0rnzkmueLCObxrucZeEdxrZTdELpdXUYuqAolXyaQmO2axBkuWK0cPZbHc4Yz+fClFBRvHcOnNzuL9sjTDtNbBe0wvIkhUmKzC/NrjvujttzxSQMQRj1X9m8N/N3esluh/ing/GXX7uXvXbNTVV/uDw40IFxnIHD/cUiqhqUA20VKhexb3Oh7J5zflWlb0qCEpfu/NaLALXAIlxQkcH/+shXBcuUzHhgMF+AmMGxjLSuHI/rMorMRqAWVHOkpXSX2okvPlpEcvVhwiWx0ypgl3csurg4PYCQk/6NE6iG1yPjA5IQlJ9mI5x+58e6J+22BRnDd+VRFUDLFaSYwnCE+fO+hpNBhbD1EjFEqA9HF/4Q3frzdrjjz+XePM65WNSXPPNGZ8SbBvRkPN6dTfngGeK0e1XhMBVeY111a0bz5HKhb8uI8iLjuz60EOMCadKJeI3RftPJuFX9cTC7TzmouFYr/ZwCiNNA2e24kB7GXbtid+h49I2VXnvtJLycCANnBEIO/+QNmV4DshhiK0AeG8whvaToai3gG10aIZigDixxwhiYfOU1IdQmhgXTvvx9cu+yNCXJptIynbxqSnpvfkZtBTsUVj128oCMlabY2lc4EMHYfb75pU2CBQk32hjNZqw7mKF/69DA/L+wIiNqtZyX4LwkmWjdIHnQaYhOvFagKv+KH2Y+0r2Yrg5lOuI5eGhVVdCHqfV9gE6Y5opGnLbidvDsAQAYHsKn9TGEs+zf7xCzsCMp+NyJPg/gaq96yNAeh5eMZY/gDuJRcj3O8Ri2f1wtroEu65lvZ+ehS/a7z6fW6g4l/e0dgH4BecZ8S8UW50Y4Etc6qREaXrGlXBJ9k1kBf9w3A9Vvlo2Ept20cBoVOwpfC8ZfyPqvpPsCcKzfnWcrUA+AIgkVFWvt441hk3bnl0HVK7ebwBaiqRMcdR5uk6f4B7GViXFaY53u4+uuOkAefy4+ULonHg9c0FrEy5bvpfH2qyIera57mWclbfB0O6psXga9EERsl69HdlhzNY0BSdODHm4DZiyaIpaZzglEPpafLv3fSMohWgIpsCSi2GxZ3IVfrPcMdbcJvSO9yB9q3Tp6cgB8ovL4hppFfToVGTmEhHH+rEl3y4u9etOQSHxSYtw5f976Pnon2ylAUBPFftrB49O5YQfG5N1F/eVRvs931zPxV4LKgvKtbkoIGf5pVgsrrNtRhWu4yrOA6VNd+58T9EoA/HPQVWdPK+M5WVhqY0zTNQXadnfouzJy+SBntVMsALv3GB7Ibauy1kw62p3WGrP1vdOlszzZURbAchR9WFkBrWtK8de8vhrpfV2cS00A/011Cq3HEdYWMtvvSn7dE3W3RAoCBmVauhUS6R44aYy9oUaG45KQoIxHXga1jb+YWyfBQ7o0j8uIBLmE7oIzNjb/byQnt76AONoOR/ffOSa27JRwNiA321JNex/0NlgtH24hGAGj/WkOWgOmT4/vA/N826UViOH2d8u3ENLvHDeSyCEAB8U5iyXDjIm7koC8llWzxg/+w8DhCm4JS99rS7/vJtFHylZOxfy3qHSu4HzVPLPVW2ZyAcpkX3in3KZGm+6kh1EplRYn4dVFNAMLIo19cZX4TCTOs4ggps47SDc8z+TvorQLmeDpBxQEvjriWlQqowGDC/kfOd8otSf2N41BZZT0TQPa09BErIiCJ1Wi+LLD1sQp74SsEpYr9EKZKySIPSKxsp7lOZH6JUk0YPNex68WROV4ZRYcMcNSyraNx7d3NdwC0gjMd062ENEEirbfoCWnjX9LrnRA1oZf8n3cRzEJw3fw4JiNZlozGA1/KLz9E+vNMJsXypK6+XJdSv4p2ARYi33ptcjFkFPa5d+mt+vBRZ/fY6CxTl3+XnRxEFqj5mNlN6ZkDIquM3mwcsERSQW3mmDRrbN5PT8MAnka4BAJBSVt+C04umJNouLmdm+ftyaSWz0AXf/0m/BDn0gLKLWDmdaLmXYySLypZ7XO3RvNYI1cgjGYWCpHKcXCkRjFw3wzfuJtZ7rF1PTyRwd5xvf6EvtBdyNYxot9y/BYIB5LGTn6EpcPAIG+YmhS1grFWKulb6kFca8uXNIiNXt1/XI8l5XyYMkyew9rrm67MFo7Qc5+b7q4b1PWLaI8m1KBY2TO3UkRRfz2lAeaSnQTjmmnpGN8kMJfb03+F/JdV4xhG0l8C7C9Abjxtgd0HLNc0iDZt6rgN0A7RyEs3okzZN0qU88wQ33+rqXfQmvCSWEw01oGqbGoHg/BKXg+5TtEeC9mnZXnEg3CilPXDWTHMGCZo2j7y1lA70RDpayIpTsc29sEIcl8DOJSHbS9hZoaPONFS1CWmkgsvNpKHaO83zbXCey9mrypRD7PnN3ScI3dmMsNqNGGM2DEcxLuqmLiP8ffraTWQo5RulnESP4Dqa7r78oXuLsPqM/4mg0Tox8NuN0YwtpG6BkcaIP8FAkCXVw85yrxHBL0bv7EonfJMnS3yF1UNnoyEbVQC1wI0Q7V69trfKsgM6LIytN2kcbm2EugXK0xlAmU2X1HojEfjHSNFS0b4o1P/vNDmy8LkHhHnYfQomajZrAi4cp2MDsM8KbEMVdta1sFjCfa6HDXP17Fc2BbLZXXwKZNSIxvJBkqkQwSNaw/+oisAjKEeuFDQgg2gQhsVyM8t7PvslzUQmQmyVQym/89xR41lSLb7aVIUXJYWtPcGtXGEeJbevFvJaePgQYIjZKLONBX6d5IEa04oEV8T105CEBpGXqz/iZQLExM7IxMWwya2FT2Zh4TNhG21A531nQkQhb/sFgmIP7fXjsHd9csJ8i/70Nttf3Os2Gn3cBmVpSNruKUYfczVdT58SoNw70KUraxjHVfy8ZagZ5RPCmO1Q/o0bAr2CCFwGHbMOCykt5+q+GNM/+N4elLERqnYN3+3mTRJ4TjhXB59DVBwUxfgKaXAyOgPfwfZBsgwv0Qx3ZhXVYMyMV2nRDp8k6Ovrr2i8CpLJPQsDtUci+ujqpxs5g2JAlHL5uyI0iLGBHiPde097FKQpoBINK1Jcc63Ht7XnqvKcJgLcdIRwtD5MU1BLWtSQd+DwSCQqlFqZzsKRdxRpicitCokFHhoeDAZnJX5V0PlQ9kzP59ZdDR7YbhLZJ4aWx3T/eo+KS8IdHrx558wW5FDhPprdkvRcgdLXEWsVQEu6R3bSdJDuzMCNYWYthcrQ+YWOXYTVzSJ/t5gycvTj8kfI/VTJwV2v+OqNNJKTduBtF0yyY/Zhzevg362WTRilwsAIYM3QhM6nNe0eIjphgEN6g3Xs+rSk47YMZwOwYJZoYxNHi9S9vF7e7sL55BHOme8cRL+bpV11grt0IDBK4nOAC5IFfuiXeJYc2CZf8iZrHmR5BWtsNTlly5rw01Wv1YCTMHK2kgdRibgic5yMJ1AxzboEyrMXmoDW7ThmiXWQWqt6MvjovC8v4vOPKNj2qauz9u8vcyAr4q9XnG+4JeU7Ox9Z9hYsU0OBizrRby5Tu2TejXEpdPJFknSlXHu3jDeGHeGRt3hfgxIRHt362+qQajqFScbWrK5udu2op3z/MDq2xY9V29HWBBkPdmn2GczPAiIAJubOu6dWQHsBr8/3UvnkfhBsqlF3xHTPUTH2nn6HehU4573TDdsxDEs2T8GjO4MuEymZNQTdkv5gPjq6IfyqFcAbuqusLPuX16clce5WoHV4qAV6tFkhbk/OYjdJQ76D9a7g9PjzBhSp6X74Gi8OE6NdWoNXPEqkO5vImMKFMmVd5XeDhHod8EBFRYu11A6jfDE0mzwuElHKIW/Ri+5qfSxLLmMSp2K/dCkdKTJQMRezlLlLiXHzpF0dgzxUO+Va3Is82DzBs/UvK8dOfMw4mSEU8IawVTc7dcQmla7phpYJ06k2corcdFbr7wh20ifSljoF9D/gylTzIAc894srAg1dp8pVDQmZqUnPjSm2LV4pEz9rRnM45MWtMtkL2idGAEwDfvTke0stHzolnEK7vKe6alrLiN9gNnY9vqPVVygt4bOPAdz73JacIICRoDqi3RbLdaEs/H97mpiczzc6trF5+/R6TnOnR/2g2NymVGcAna9PuuyJV8s1Ug+KYGQsLfhnM1vWaxzOSD28JliGN2S5jLHuqsJRrEc/8P2Cr5u8Bknalg2RZv4MI0gZ8UQBNy8DmfQQ1+VgYwLCVU2OPYc2yjvF0gNBbNN//dMmN6lHCTQPVjaAIB8BjeWHgRAn2nVM5k1bXudy/8jMa1uca3zD6i8G5Sorrx18p2mr1oQ+S0ap7YrYGLdFisDn99v4WPkaFaDdHHes6SLWYka0tS80G2dEgV40ZUZ662WJUUrRwR2m4C6wjHJrfH6LGgNZy2OWGM0G3DbPMi89uM9GsKCGHaO7XP9l6kJ6rr34WVAPyiIeevclNUzb6B5FsFgU75XVNaMCwxi+Dk2FFsF7hSSWoovHjxmbu3dFx8J75aABK83my9H0vyyC47IiANoF+D859sKKlbx/EZb3LcyvOp3jO1digAzG3UnAabGNXnu3/lkJNeI3E0eAmRU8gy9I8un4V+RWMYz008/Orj8elb/t5znBwL1kSqTjaDRwq3gs1SAbAADvoTuOhaCQdYp/1gAvXDtFQVn+BSLgz43rT28A6KB408GTiw5aeO1t57FSCS5iLob/cQAZTjexnY0s72Qvn0iq13O1t6OH/RuS291Ml7/MqiySqZ+DT8dgZfRqPTLBzIfnQ09ZbNsndJcURySvV6iZ+VQX9jy5PEtMwNxx7exRHcveQ/TxSIemRkbhGmPrzwtO2DRJzSQWpmmf80Yd8n/VXNnjqUzJkskSyJsKpNiAf/9LEf/6NSbrac54vW6FYLd/jhtsNA6PG+TkdOneaPVH303Ps83VyDPigVzqLW31ylFlqRqUy9RkSDf3kxs48O9cKtv8mQBq/tmPBEF6ONw614sPbyqU90+lrcf5mX7N567U7hJBwgrAAMD4i61olJ0puySW30lhY9PQiLO6zVGaHStFpJin08ODHYmx99UC65OFmgBMUhCPZo2TBaW8/hNrKmqAC7zHGYaIU9s1tQPvzinH+iPlqWxcfR3OzALkrEm2Z1pdA4Gzm2eqgoQsRqke+fiaC1J3dRcHrva4VILibZkHHzUG44r6IAK9Bt8rGmG7pl9xBttOpeR1O8PwfpC8QREZovBctGiOceGWlX7nW9KgQuzNmjZDpqIDhOXvQcHGdsy+1I4GkhboQKf+an2Snx8bX588nl/zgfPYL4zUI7TC+5MIulnnN45EkDhQPTYPzKBRcjfBohFV8CnAxieOhLHxJRa/67faY3dhvur/z5PQvl1FKSwF5Xy3ezEBaZVoLZke8Hv8qBXnBf2nENP6TVqtYUjjVN2svoIJCyroHm4W4zygLJUCqgfTQ1ETDD7Z/InQJb2e5Eqk/HmpPUZU8sfS5CjhCqrTQJjpOIll0CW0bAP+G75hRmd9SJVQjNWvL+VpoprusXjWcpXLtVWoFPurs8s73OONMAqPFzmbgVn2HfIdqmZ4lJ/CXYeE17Qsg+2N1OO8auwhFIT/nUqoMlD1bOD4dwcd0mEVTrJWAkKYzl5CkqfXXssJ67H9bKWmCLTS7EG4ev62GDP1eqfYK/Q9tPlAQhmhoW+39enA+M7rQmE9SEgLdUwyWFwwfZwea7su3QzIQgtyo4oJ4RDFanrEUvqZriIWqcMygad9qOOxwKF4DJcDe1IYCjTy9PbgdVhs7zFhUYD5pmM+g8XjNLUdoenfjiTj1gbXIsSgxAyjCjkasHmgfv1xJ2XQ9fl4wt5Em4ENtdZJefbrdvYUDoD1OOebG1oevVTecTP02GjX7qNFFp3In0IMGnQV4uouK8YYZzEOVABezfj8U4N7zUzjYZx3J5nVHcqOb30OspmcH1L2jyyXIViYNIaPBZayePYo2NudEuGuvMnjYJpupm00+3tVIiQHA8He1ejn6QcE+Uhfq8j5WDMIx1LS19c92lJS2FN4s7ISkuoIP3e2zzsOxABvrU8texo7UMQtyThrfFawp9Vh4DATI8FcRShf13UNwgIDjv4xWMTnCilJAJ/9RxzKBnzm75qwfC23ArqXNsGq7ZQV6qXrqM6KfLubpy6D2kOKi3hiiiRXEEvaSi8gjByU/9rFRCulA825RDKcVBTOtrVMTB16WATQVn+rnhXhlpYpIwjZGvIgE8W4rDXe4fugTy+AilrEFSijW/e8lsuSiAcykypfyr1AAwJu8xpZ2Ml5VuMq7APmHpjN1L5l6D6CxZQBN4pVdlZ0UlmZhGGZDFC3hl1lkevU2NnGiV6M48BNSbtMnPxte2Bw/d76Qk0d4SmURxphf4LrQIiqgsydTOqE3JZjCfP893lbYGRfOt+PTQX3buZhwHH/JZaTlc+B8Z2NPJT6X4Zt161XoRqzZSxX+0huHDf9Ehs4ng8pMlRqn/qeAZxSwx1QWcINImtdsIEJ4G084aJYwpSFytzW6TbKD94W9qG6W22C+hsZH7YsQWZuJjqfQ08whvfuiD/DeTUX6BpiBSLWH1jv2KfhNJ6dsc2ZwSaGyljW2m201k3nx9wfL9uf0jwTqXcnSI8dFrCSVYhDlOeMBKi81S3Hkx3Iqi+QE+3ei+Kwk8gNabNbN6eqNoUpZ8BJi8niF83ejnXy1a9oMBUJ0HUE8OTlb3kRdI/czSjWfdsnZg/hXWVCuPDwjhate8HA+OhxmTb1Mdh8SFBl4q9ZrWVc8f7/DdYfaYM1yc8/ZJ5ztN5m5aMv2Uq3bqi2lVlxIWSk8f0CIn4cRdNe4vfsefAHRN3ihN3CkDSH0gI8mr1+HiHzFXRK2HrnXfRT3YNeJA+T5gHv24wVvsniKzSwVXwRiCLX3drJoltlbp0YfzUDxihjowKu1kb3dsjLS2QVCkDKcg2bWR3fyPONdbFY4HLrQaZ45r7aoxHTg3VOx1LGDRMlglMWOBfPZ6PqBP6bDepsOb/84pmvxzBLPUbwJC6KHm+ClJmgvp2t8hXXmBi7bgr6EuNxupYr77hJYLpEWHQVfnPbG92fFR78aRKprvR+0FWf+ufsd1smX8Sf1Sm2f7B7WwvzpKkiEumg9ImbNxJ5LpgxNFx6uKgFMU13Z1TZ2fYT133lycJrknr5HV672MaeBCGgezxCAxWdCRqIGufB/l+lW3ndgrJcfTHLY5Ygi2/auumku19j50M03K/oP10mywBmQh09OnOtG+c5UWDpuQVsJi3ANBunjDFEwdy/qW9u+BKw+jMy2mw98ng8YjPMWbnec/thHu3GOBo1gsa4wup3QZUCAE/j06MJKB1sZ7eGjaFtUXoyAumEFfikRhAQfUv3hNt9g8FkSnFssCYzVUXMbnmJ3KzsmJ6Rg0fYgd0plQnz89RYpzR71d56dVigx1cZ/vslgI1j13FUId8i2k+sbgBF1+z/7tW3GCA+idnpC+k0yyLIcahbsw3edBlbCJHSDf+Uz52f0TJT1nL5B0Op0fumROKrHIwHV/DCk2cRVbu/kQVjE7f/rTgA/3C2B/hdFCQjNL46E0g2thAgUvNh1npFzr24ftRN4tFJT30/k9Rp3OlrHZkL08UYCw/UDXMiEdg2Lv0ocWIyqipFfQ3GIE6MNHEilz0qZLMOVKE3Swb+jlUc5fEpwb3gR9AO+Y33AOc360rLW8hJoqafG47FW4ci9d8v0Uo0sfdNGZ+n6rDShaEpqUZcMs3hh7R4U9m2L7xhB2uodSPXrWDPcSmej1SvAqf4E3HePtE36e9TW3t8D8u3r9GT4Mk56gBNU0Un/8JUcyojCfr0IReHLtgB3JHG2CgdCSMUN6WIwJvZYl72Tg92E1GHoI1+3+ny2TKYETcJGOypS6Kwg9j+NUYEbqcrnaJ/yl5hsSoaQzgEGO89DiWnPhsTcgvTgkmd3pME7gFa+psXFQS1SlCtD6kVv7EB0fBxr8q1Ouum3uZ8jvQiqupXnmzKtke9lXWA73lZLGLyqCMEIAhgdsnIY3RCf0ZoWHiiyrskUgIUx2cpng4spQgR7+jhkK2ZVV+XKj6dViQqwpGmMShTERn5sgW0Pyvdm3sju8/yeg1YC0ecKMECXjizBz28UzdaNGetHJlsNAfFafec67ZYhO1nh98OmjtBSUD4/fMuprACFnw0VxZkKlvXwHwz4U6rHxJmV5a6+/8pb4RxYE323qfJMk4D6gTsKXBeYebKMFtl2Hl00lmo2r5bxUO7N3R2E3HllBW53lT5AkTamuadBuE/Z4pGJ9le8CG3KTrbnMs7fbqlNbrymkHsbTPws2Xnh36xVrkObVEtjKbuh7pA6P4JINaSQVQKQHRz+3icZM3VBt68toh3Adl/BfqA2RN/JzhA9in+nwWpMDnDhNmZj9ywHLtMRYxax901l4lxTTfgFXA4vwqNNjpzTV3vSF8Scmf7BzKkjZR3WJBFkoPxGENzi1Cy4C7z9KDPiCyWr8SzZAPJqZRoOuw4N/PcQ/ZMvHK15E6bdFroWlEq0Uw2azw3r1z/za0QvJXMAP56jxMAZflBt+D85ORY0a2+XuAgTCfwQd4Dqh4Xa4q5uUD/xxlI4JifYJclvWNM7/Ht8qcHGPs+Wq5gzwiqEbn2+sVmKpUC63MdhZZqZc28/1xA8y4hfYoQOum9Vinm5uiA+ejLXBmbrrUF52mHPVsI+oA0W9zeCYC9i02vpo77nLXhdFKEGaI0Kjcy34bFHvVEZYCi84nk1JnYABEabEBZ8LWRWVWt/f9S60WCnXvKzYTemmBZ9AQDBCCQnuu4chqXl+dc08XX5B43+WCErO40x5ujo9+r3NEKPV0PNBZR061tMyTMZ33ufTCNjszHBnBOI+giCOuK0oE8opoOLuyNCOemO5tvcfyrmFBRSeAE8Cwk3qmsubnRFDLFbtHvRPQ4p/ut5qIww9InR8910hsHoWR711Nz/gnJBJ5/NO1/DU4vpVUY9Phuk8AvAyub7NZmk3ze3mhWpxZGosKMkwTw3N+unlPuneL4d3ImqKsLDtHwdunLXHzCj8Vp/eqzji2OSyTUL6q+6mTJwLUxWJGb7lLEzgxeDQK19w5+lkeo0vtA07AT8yfVRM0/iTRgWMaOIE6gFTzre6zBn9hZC3t2BsOJFLwI69v3jtBQXCM8ha7GQLM8KiiUqBgUQP2AlGjPIqIFtU+TOdaSZZGsRl9dDtRDm0XXkqbqeLFHJxCcxeEM/tNezsu6B5qYGMt9JMWGUNnmaiNVOPG8ae5xRMzDLzb+pAjycnm6oyteY3nPmOeXjy+6afiez8fFW1j0PegQhJZnQE8zgk8dMHNmAayBfxSI4tTHFDUeRzw2vk8bSJnq1btLrv8rO7+VJbliR7xjb53c32KGCjPou2ywJh8JV8JF8Eem3oQyHm30mifICeKObaJedV4bQj6IV0tRzZbjAXKDxRo8N7rvvv2/4/lGwnQUHU4iYAgIUXyIif78ky48wu6uuCM+8SEYtH8BxjX70tGKAMQR+cVixpCNS4HfeCmnbqYs+BjIJjm1PXbeJV+D23LCeONmQgixD4UmPymBCI2PlstWkS+66T2Dfd3ma1NXqSmK4myTz6WLULWpUUSZlOR5Crv6N8PabUVgAdKxpWj5lqs5deugNkgugDKZ9UgjNNXoksOL+YCqfKcZn0/CNCG/oSXjim0VouK4+KC1gPkJcahauKAX67WALinc3Wr8/2ukFbtuwZc5PDY/kFPQKagkvU04T1C3qtRJZfPyjb30S0Gbb1UwOInJoz2RZXQMrJja9ZGepD0P9zXTwvX6GI72LZqm2tsjX7y8VMayOJ8YjIkpd5V1G2/Et5FjHaJ8Y0HMNL9KTx8YM67GeNKNsXmIwi/Kvam89pcELxg3srN5fqaC8YklLhIuMkfsOuBg6WWaf1xihf+CfwmJs0IhWqQ7zuyKiIi5JGb5gQxKd+Ii2zbkZzvd/raDgXwRN7AJWhPScT6NfCODbPGJ9pY8iThfzkhrLaXgDiJk2clRVlRrpGTn8tYCZ1h03NC8iXMLuvKO4Y45zHIT9c+YShIPM/R9ibg75WG0VVoVRs/4GhbDRNZLAmrVAgQFufPYj5pPYZqVl8rDiiTqsRh7aCorZr0KesIwEt86mZSMlv8hyhjFfs75PnWb7uVwkLYkrnt9UvN7MbJi0z2DtLUjODVt//hbPft8dcPFIVKpa60OGiJMnBeBBPhga1DKmTRazTKVzLXvIhMKjmFJopRwpLbggOtstzoLrPAKV3XDAUZuuCd0/ST4GlbdmQV7PjS5i6Ge75VBB4P+/Fd9VuVQLaEMOwRIPTXD2qJv8L/82Bq3iqu84OGmOo3YWX4SUSmvlmOwIQm9GV5Adr9IYHmbWx1mOYCdClDulStooKaUmDzuWQQVhVfhnP4u+VfMiPkl+IU90JiMPiUKGKoxE/+H6l3DGxtIy0SlDbpzo6Xc2DgF6mAtr44pPRrRoKlAnJNiyhDfM1+pvZ3K+cBiCfy3sC0GViq0MJZdxIDvzV+0sE/Q563ZC/YSXvVkZIxY499YIjinMDq1Ot56UtthWFOZfZOhSeuOvGVVRXDHBl53ejr2+xUcgyl6q1Zm+GIcM8FysRqVHlF6YofG8Rz46JS84tB73QxRCQczsHdqvGsNz4LjHGmhHjb/wB4kLsLBfs/wwmfZx9jLsBhcDPwZ3tnddT0n4Rx8HYpn0WUmDAIbQ8ErxLbD20/hGgDOZtgHhDPuCMr0uDezeY0bsAN1JQpWXb51yBKKVD/3sWTEhreQqS/YWV6IBQryEIUsCavOVtIAM19jz488FAIurPjnpuDhCfeuvpZZVLrp19puOnZl7Mp0oQYbN2LIxv7/VlvD+cq/gzP2qeD4rs10iwOV+GFoX6GZ9K/pd8IXUtyFhsqmvN23IrG/fUNgMuW/dj8L3G2OGs2DjUuNw6ENwC2nMEv8YH90O5AW0+jnNeqNCqsCH2xcCbO+REObV3hOkO6GEHiiQR/pp4Elc6xukQ+AGQ5jCfpxcbdW2DkCg7oTbvKY0txye8ofAngeYU9o3Kk4V38XEglciSkRhQ0b2AGe2js/BqUCzPgpHCRJ6Ff/TU0C5Z2Rlwgl4vodp5qgbkVYrzeoQJYt/z/tsbYBE+0+Uxi1ozL8lB2u8/ZQSnLQBXgllCRmTw93wK40XRMvgSl3wSrj6onOz5wuOpY+8i+FIVrxVjQFjJz9EMA33oO83++ZxEuKlZSxi1sg6T1D1cENW2AKwx+Fm0TM3e9LWag4P4bUEqTxQ6tszFK/vE+PVHOD6siFlhmwwlbm+VvVbyAO7v0Vw5THU8GJW2qUU0o+75eygnh4qM07jgxrglJPn63X/AD/fOWhatYST1IfK03UGnW4h7I/HNIU+H3cINJcqiJhgr7y55gSRsLCs0jcM+Pr4FnhlV8abd4/N5tVGcV0vRjmfYLu+PDNPPao8a+0BjWttL+DCvgV6NpA3y+/8IxL9At9IkIC/50qrSaqQE4dtPaznoqD2UjmcBn6c6vdxe6ZLsAoQNCJvxfXzK/3vOQQVaLBfpMHdNp+U6ywrCaOvZImFwRVwrKjMVQ1H/U+v4Dz40scOVwLfNW/vElVZHKGiXIYt2vmy9T9JsrQF7hThrEP7BH9n6mzmYKVDYhaw30goDI4nLpGB9cJSoJKHXltp9G2ubd8qklkKW7YFRp9/0qu/te5KEJjIa39fKwJnO2HpykaLi9KiqCU4vkLIPYBckf2CD4Tqcu6Tgfyj1v9MOpDT1RTCAVDN5CSxeNGOCQ2sShD89mcwO+DX5zo+Mtb0WwQExCRYd6RHFucjo+jc80sgvpUuYeYEjBF8ZW6Glu20h6g9L1QSz5Qm8h5elUDTBoKYBqZqYRgCnGLiQVGhJIo3QSd/ryEF28xuUsYBrp3iKs6gUBJMnf1rSqMTFMtGRpGJNBi3qZICgknqOe0aO98ZGDXfBwSdO0EJ5shmcLlMhL/U3b8tRj1iIqQmoRY76J2O6djvmQXCw6RTSWKXjATFxg+EkVpNex2dgk/nLsKydVN76FISFjvCzggCxttQGqSmqDnwYfwlgCL6KouA1CkdDtL5NHZil6GQdpGK+S5j+jtfG3i8RCKAzZ1VE7axrhQWE3By0a7qgn+8lFZphXP67ErMD7PfGLW5HZh7zh7MPF1llMfunGYizYo50abdN/2LqaHZJ8cbV9TpDeBusmEETexRFiVErhTHZpicpvLmlwhySPAmP4fqVmTmdaDt/K98HDIPbEKaNGoGGlKQMYpn2zNEvn0KYD9QVN6dn5tx90typ7DcqfBeiW4ZgnIjiDLRbU4YtZjc9GcQKlmqKG9kSYcmdyKVHrQ0+0FiNmxA+cCXDIqevU3kHXgBUPd54NN6Vz+j+27p+nYLozTlPott9uh36U57spgluEswC+G1BEiVTS9WAvVIzZBU2/HQCchXxJzbWqsXDkzZLj4xXUSjaNQ/gwHoWStyrqJPTkXliN4pQzSrnuNdFWC2bZT6VcZsJWJ+iZDa9Shg8rAqskb88+JyfCuaG4q+r3OFD8yvUGrNSVOizF/5bY/CGbUJf7Ute0WpnMXm7aQ2EV+PCrZTOzzVqFhZNFzzRHkgQa2LlqXWDjmvou9czRMMKxMC+HAmRM/y4wkvOK2Qk3v3TA6Q+EahSYgniAR/nNC+wdFjVGqTtxqmX8vnkEr0k3gnP329RiK+Lg1Ildi+535Fe5XCG07QDgPkTqFXH7g+oR6MIidUyxXEZLUqkj1LhJwyYetahEk1tsnGjyvhi8edOPBLUPFkkNoypUtMu05GJQTvHNH2nuyOqateVCObq6Uab1Q5klswzHIbFXmZVeIT4LRNlGW9Ehnj8G0DUBkJzGfdYTm00xd9BTIK0fFitCvw6iRjz6uQMmsOhBerU/TAzHfN3ExH7BfiJK+WqBuzIaQBgzV/tOZiZz9AKdQp6LH8/QPXAMdqYNoD/KF45P8Z7mvPPeHi2y9Fr3AzNuVOTCTsR1lpPWTp4tl4sUieidPhnxjI1WeTztNV/cNdhDmUEIVow9glPOZGQxYeqEXZey74C6pvzmW+JdYc/4lAxQXWVWr1+3dJtrtjQLP2ca4R3nsW9iA5oWGhD8RaJjaXtiQ3lHj7zIPcS/ULEBQAdoOzC51WA5Ew51x1mrNnoDJ0mp3AgetdwFEjG445uefh8rfYdqGre95NZfpUArV6g6HH4vNLyHa3zLcc4VqKUiNK40gMYDuym5YPDH0zP7jDKLqFpiVkaYzBl48GesKyZ3QqXcHtmDIir1s6MI9Ky0VqARlb8Hdoq+f3kPELk3u4/50x8iFgo/T0WyYcCzfyHMs90Ugj536ijfZdbGCJDA/fl44YOZzKSUm/9iKkeCblkotgkYB6c453daVgILW4DIm17C4lzYgY9b2NAv2XLShg6EZasSKjfYJ1zLn4CDxwFcKWW9iVfL71jo9hgQKbYoOyNybEsZ6qGtYSjV369YYh8/NyIHEKH2ZM+DA3XtDI1JeEM4TBn7R2z1+hwMF8dhJqWflOd5doFfpp4g6exBCElumhd9B9+fTz7zvUq5+iO5YkkKbAHA+2wE28lKPd9I2k5V2+VNpBvIXILqr7yTsDxUolLzJCeUo0CLjGsLhCEt8ufbyeuWFoHI8+S4zBxgTTOhyQ3bm17DC8/FHhXK07ov7cu8W8Wzoj8CdnYALrfvOvJQv0u/foav8kHjejgfU/iHjqCP4esr5xRIsDVYJBOpNWQLH5y66QoSCy+BSpLM4lkSSdh+Jx1qKCIHMdoRhjPL80tOJTGaJLQAa2FjUWWKDfo4T7eaQ92w4lEzdqUSA0E1r2fiS+W1L0EtPQm28AuPH4sKTyS/KZm1H82zy7YlpOSkcicwJHxPf538rWsILRcI/4qeAFrhJBlk+PgfdzxCAu8+ll2/TPCOLUdUdCUdzoeRSqxAYfVDoRQs2hy65j98afviTGSjW/nwZ2ue83iT5c2Eq3eALq7CqLofqutGOoYw++JH0npiureGv9+9UWf3ky6+WImw9Fs7MNhZwf43OzLdmIYdOpbo+LBhZ13Ig18keeHM89fj+ozXL6IcMznUYSzWHTv+1ny3BlqFvmzaCqLv5Qhkaf/FUJ+1t70CNOy1mYn4hTL6xKgezotdxeUcSb0Hmzs3uhBW3tJBa75gVHgW+h66WHEznoLvUtGGdqYrobybSvUEnf3wXlTJ7SSde9tgnfvoemmB0oySq8NZVIknzfxNnKw2D4fDWzFHNSVxeK7WU/HuOJrAjktVStukjn0qFNPm0WgD5woYQrZUsCHc8huWE6nvK1eDT3H/ToEW7X5H7yAGdK2Zevf0AL70lQ1gsV/4VrKBbnR4hpMs39FH0Y8QyGty/EYDwv+hEwwSrlsyrp01+QoKYzkg3IDnJqyoxiWhxSL9UXKXxa5gDccNtJKHqmMbto082xucRtNS+8077hsFyFDtu5tjtnr3jz7ei5i+IeCpRWNFFwBQqXB15o/FpleZhpAWCT8LdRt7N5uee3tE4hfoDB71SB+21rqajpHskkYYT+E23f2R35u+Tc1UAmv93NhnNgC0nOQjDC9K1us1syXAQ8CFwIYiZvMoqwV+csWA97R8JdpZTIgkS+DuAuuKEdnPC3Q4mX5pag/nKT2fkNg9wQhhnKsbpGtXrGtP/VnMbX1Pg0AxZ9Qj9Of/jVIgBYC3CM6j2GGTX2GbJ9Hy7hINg+IXWQXBTAGy3YC4dg/IIPJ7al43VLvb8HP1d+ZiCibOpwZLDkr8xOdjhCC/h9ERF6nKXlhisGEdjzCwYgkx7H2D+zKPZkPfD6plSVa14UQ3Lt8FFdz0IeFR5rpyVfxKAyz4lx4E/dibyrdUDkiXC5cNG+OVZhRgs5LHoN9AHxg6+IIgaHWwhCQSOYgJEq1lEc+aix2m1fVw0bWyCUAPxwc+2K3TIa3s/4+IYR9Ykm3mqCtKrpq3+mWqp5++JKI2ROq5DD3lUOX90pGVffEOFe9MPNT5XVpExchnnOS3Dvol017dlQHT3IonBwqOxIXyrRNqt1pB0WviFHjSN/iPp59AnSzFkPj6hXVIuc5k2PjuxN4ubMSauiJv2NFqZ1Ug6zOwiKrLRd1OkGhv0xNNbh+ZsasCKiV9+B2YVjGMTsQ7DtCSm8TDyQnINxCGnjGulSY97m14f1YWI5U2IcDxzC+c32tC88UNKZdpolWuwqlI4eIHFkJWnQUr+MUFXuVFgZ41F/v0hDo2/8YDgoV5KB3n8oeXenQTwj1sw968+PSFsnp4vU1tnRCtinIoE2g0vK34ETwSScNHETnhAK6f7W0HBG9unr16TPIUAdjLisvGNlIPq5MgUEjdoDFecSgrDiPt/BCANezKq4IBUIdlnc6Y27chbXLor7Wm46c812eYUPglpNaENKg+/OrYiHsoKWFbBZH7sJuzQb11dkOcqBIudppkf+gaMZx2/rN3DuAb2XfVMlmELiu2RSfkkHJokfrmBI6dvr7XwQ82rWVuEcDgF6qJKvnlxD0jJvoTMrMFD65LSco5q2USDj7U84DacbYyTZb/HTcfN90geKZISd81jJl5PMj0E0Kr+jbZB5C1yCPo8cni32XifdSdDghPwn1aMrji9wuOjdh4PTqVnwOX4Gu36B7PqRlQhP11IQPJIur6MTr+ceJSmXdsNXvONdFXO9oy58kxEtkVqWwmUlOL0ypEGPasXzTldnJRnL4OoqVjQ+m6XCb0wTvqdjmY0XAzbLxcFKxQzBe7ZG2G1BJQ2sew4bbe+doirmIrs8po6Jii9/Vml/7tFIGeoTkbAqonAv3UXpdtA8/dEL6l7lgg8ErKnyhMNL9VKwaIYDI5x/Qx62puKjRY/VS9TBuQmM5uP5LVQnp4QVx/SdPRESq3sKkD59/6F8Vl1tKdR4ohWOZafas5WIUiAOzQTQXdREij/6d0Dc4JjkmkwDp2gxoRONMuczfj1jmyMLv/3HJSIGwVXPl/5DDk2xQEygJlKAmud0uyHcEONoI7rgFsBI3QyWa9xEu31Ily5SX2+kxRrnrKq5co/iqwGa+lw47Evse8fU+oI7ElwSuonGi2yrDvoHc2k5ruok6x8ptT9Gai5UB8V7Cia5kDRH4Pm6DeYBf2D+Z17w/HIpKTtXNVXXnjzpbfoNdqfEBlYsYSHmqSi0o+H+aOqXqKo3j0EJYzByamRN7gV3WVzt8RivUka+wq2ZuzeXxwgFnlSotWjiHiUbShYZIX/MPG4LCNdZqyRT82WQzUWvCfPbBSGYNr/7AgHR4dYStEvxL7knUXxHRtW4BWndPFN+vwTelgruyN8bcDap7CP5VYgXTGvMH1ZIf01EQDiTDa0pOa/8EG/NN9K422dDLqIVLxh9IKjKzzQflVUTeppc+U6Kdnegc7m7ggHLycVQbiPkPaWm2Kvs/+Ruh4AeKKbHxzR5iwGYDteN5i2tbFka90wRP54WFlMBF63gbUvrmGaIkbBxKAOg+EdOeYkuFe8oNT4ZPiiosGSAOCZ7juOdtZMlKvYVYfA+Zvefn0u6cYzzoWZ+G70lL+5MvjEBLzCYrKee0VQOJsaEhEYF721yb7XU8ZDLOqU0OCbnVthMHwl6/RN99fBVoDDUHJZPAi3eAqKo3cYfx69n01z1XIEeEigY1lHXTw3hPHR1l60vzA0t2EXeGaBEeux65QObb3TUEke/aZovU/ZDGEak1OD2MyFOfjfLeKwcAhNZMmyh1SlsRC0d6aAWuoEGj6s+Q/4syBXb5PllCaVep7ZjFyn1+56TJK5te6P5AsrGnerS09zLQTW2c5FWISKhDL92QQ5IPJBLWBpWg9eCKVU1toT2FdlCiZETZ//PZ0ao6DTFS/7snv9qjc2Re8mva4x7SzwwgjFj2mPyIRTP+GFAYETs/mEagKcF/4vzDqHl1Lpq6mukbl/bVagv0Olx20G3F5F0ozIXALmxoUi3ZSfizYQsaPwKdAt4K87cWI7+fqRs9nzI+NYZSlGlhDVo/lGVCInpy05H0G7uX/yS2EmlOGROFjXk3Z0O72Cqk75P15O3QM8Hu39Wha7VzO2ddi5v+haF6U7d72G38Jcf4mz3aslc4KLWvt+/d/32sO01U0S38uIGGjCMefEAs+gwMNfonnUS9KqnTufW1wPOkXYQLig/fmGkb9fTMYmQaMOsYhlG+1ieMZhc/tknn0/+O7TmfpGsRHFEOgMB+J0Uh6THvn3rmvaJ5U9VPMnMeLI19toeITAsdY9qLrm0UNydCb9ZVOmvS9OksOJnanKTqVvsGy77RQKHZuk5SS9Ign8zQGWnW1OoEFTY8QXbp1A8YV391b/RZr3lhw96tXrTUe7mLJYZS5JDD4kTLb9NazvSMjOKCpt804r/p5jDLqcZkcoNL+G5nWGZRRj+YywjHRQ2WICTfFbsS27nr8i/nCo45LNi1T1Lc9sptJprWT4cxOm6TK6/1ArS5VinDC65tzVuyMMIozcI05MdxJxPq/52hIxAHSNgjRQW5Tb2wCDIAxfFVTiLKor1Lj1DN+CkLFsmauRqtCx1NABGWguBaPLEXzzW7Gxpvjt8s2S2cLlzl29a3LTn4lRyeq6z3ByTxG7HOMiU6da7xPX51FRdmqkap27O5DdrAtGFufiXGbZYnuRvn3TrwQ4peK/C4TUhMM1vl8mWNNM9qktc+EZgueKWyYIxB/uHNJHBM9Ud41SrFSoR0/wHJSx1ucX30PkbXRS+BtpI3xfYopHPM7k4Vqh58Dily6d+ibXiKiOrQngjlYziOXAHpu3kZPPz3C/+fu8kSanE0WRjFiqjAeXOBVESzuJoXuL3R/mqVyEhHJeGtVCrnE0JZ7lF42IJuQgE+Gzdbr7gjd7CHlcXJ33Hi7SvvQA6zRNcXlQUesHsXRf7Mh5z2XdOvyvi6lG9Nf2GYalgb8H5vL0Jd6DBPnpklLusNAF+Uk+WIaBpTBgQHc2osC7Hw5BJec/D5sg8vwivkpihUAh1wmXxabJmFT6Qqb1lXVS6swI0N1tIoRmI8Qqq65FoMrvoesBwRmZ4h1o6J+qmfzqRWQ2i39ebS1nrEpH/TOsjXqz6YpMYFBX5rCeIOvaalFfJ7phqT1lXR8hE3RxAu9baId4x8O0ugUmh0vm3jLJRMMcsG5FAR/CNxoNolqk/roPUHwsSE1s1Us1VtYr2/3AtzAUprjC43poEQucF6X4diRfUSi7R+QXA6/dy/kQEu8Ovd8TYtoE8ZqQwBtUgLK1PU9x2AeDkTOCO0Vg7vHeAK6jXmDFGf7ev/fOB+MRpgliwL+ZUwFKmhlwMAWraCb0/ILv/K6XtUeZch90XcVHu4cNHB7n3keAWFohJznVpIHJ9Sr6QDQcw3iIcbvlukgjgJGvjgFWFU8z5gdMwNZzDpH5IhqeXFGf3Bl/Ge/S1LmiLZOAi5wknxWxXlAJpqoqLfk581HynP1OXxm30t/WeVLfln5nEu/emT0ULVGBPSzy9nr8hqqcDhIHimgQO7yOcnaMf4JvxQcUgoC6pR/XwhxlPvQ1yUwOpDhDU62haFZYCKlcbwvbKXWpxAK0ExZWUaD/djGc7GCT1qBixllqjqwaoLp4UWfFXs3XvjvZ11D6lCYRdWSwON+B8yX65p6uT1qIDx/3wc4T529trbdoeICI/OhP4Vr43afUJp26MeLpOeGrOYwyJ3iAjAarOQApwieVFsBJwXIdcrflV5h7G+vV2QR18f14inSttOzbpQWMwKeeD+j192vtko2GJsxXpG/MvrN2CgRuzoYedoOYfeL2S4QNtFq/2GdTk0PRXHVnhIQ6GUzL/sylxy1b29H4L3ZG7gSe//QKMQ1Wyvnd02OhIUcL7Fyi5wA9O21UePgqEJX9WoI93YOtLhAeGXF2407NVuRAfFYccO426XqPu1GmD34WZXTWeDKXhc295Qgjg70Gnlqf2F51Gh/qd7Oyo2aZJB4ss6xFUGw7r2u76yl38puD8638RWE/rMvgYgP1dLLvzlcceciInoC0t10y+Rr5E5f6mE6+BiRYGX8itEo7cPVrvDU8v0e6jBZFrLVjBYXItqaYITDRdzWM5qr/OElGlM85JFv4UPABRUe3VhMqGfBgYecqK9SF3Qm8eubOGgKqmfs8gN+63zzQKr+p1XHlLLopi0JZ3G1TVAGziMlFzx2kuml67+hbzD7rDazLY9ZGKGvOCAdfhuXE953qaYLkLtd39meCVihG9xuTD9uuB1QOGFveXAkDzECjDoWS8k3p3LU2AMAKTv9L/PejyW2lit1nzLMiVHBEJCkGqoLajJUIGZbGPp2+pa2zjD1dWAib0gw8ynT8RAP8gxbeFeQmfYisw6fypBBnIczkZct4D/eKRp4azrCOUwdtslOzyoGTIKNveFNJb640k9ytujQ2B2fkk19CqAYj8UqA6xgrJ4LLP8c/QMMvUxPX/h3N4jvVHIfyfcRNEqFU33pj8WlgvfBPzTuJwPJJf7nfY/MXUmTpd1lrLVBkuTeI83k0g/Hn+cC7oEXoorlv7+WlXoKs+jIDlVpBykzaJB2R6Z8wOyDu2f4cOeZbXZw1k+IJZCwlkI3jBRMMaAe+SFDvhNa8LOE612I7tx1MbXbKJbzlXYERXsKIWGHp+VG5KyV1J8v2UOTaf78ZAg2Lwwerpq0K+DRD9CTkbeIYwfDWLDtx1qtaL3mQ9kqxGGuZaZgbX4zFW7jWycDK/olATGE1fvgbTPqjmpubcO/0ZTWngztzSvYuC9AhLskj376ApXy63laeT+qERDSKKjuPX39HH+X1tUpJ7yZeqXSBDT5zoR/AcpasC2JDryeUfltzyQxth5kvYFPtAzJMk4kG6eTxGwsDhzyum2yJeDV3OtM8MoDhrwNFQq5bO8efx8sEc1jrOM+gbqPWoQS/nkgnqbBf7Z+ljzAyXEn16i698px2GxlPhwl71UEAdB1qPoGWQOEwXe10mRRWpE/w50cwGnZnDNSrV6HokcI7IBBoEPyz6/f0opDVzMlt5j64e9ZFOPnQjv7GFhboBAzmY+RcfdxI7w/89aPa971P1HOdhwBp3imr9EDOhtPE0wsD+Y+Eou5BeQgWF6MK5Df3ivgP+cvfsqQAJBpXj5ZhrOAnTqmye89FKuByJE6s1b90uF+uDZnbsEddKcKO0CbPQdzOHSYhZxXBvCFTGs29FGjFbnPpAfhp2f/wQYb3u5LejTvRu6BZ9hlRDVXSglcIdJDuRJuWoj+tQ2+VpfXSFDTBGPKwwJyP7i4mMdXUYJ9A2nQjSSMUdd06UByNOiDTJJYSkvmKD3RQpLY8KGwsM13NlyOZJ6I/6Yi6SxwLL0sY6kWJTw55zYc8w/WT9v6rR809V366ttSmzfha6hdvG3QHphR/FtxS8ZDa26+X0ldP/gK+3qFgGoYGfvhiZF8XRPguCJE3i9BnbPG2OJgBQgFJEQK392jZpO+cXoqP7kYq5ds8RmiUtx7d6MDDGi686AeqfSAjZdOTnnvaQBsgOG5XQKyyJdQYPHjafNbO9l2XYd4U0X3jQYL2ME6eol5NQPGBwsbj8Cj+WrQoXNnYN3M1v9KtdKL76VicWD+LAEv1Yq7fPfLyDIRz7hxxv75HlhZN5z9cF3pihBwwCFs5ZQxkO13GRGdohIrDfBB8XIVRbRCou7RAontbcjWacawFauRDId5bNrgbJGOyxOcJECddXBBnAAb6kyc4w0Z0FyzxVkOrXK0+QB8AX/647FJoI5mGUbsH2QkJqpm3PqDx2MlLokIgx+TAkh4+Y1HlsnVtuuBqtqHJc5Bu7V2nOUF8D9GV0qZ4qjMzOjpBOSOQiyHB3et2+N1Gxyxtlw8IahQ/WlieDg1rzXavypf7LWwZ+TPVvm6FBx7t+t6U/3gD1NTu1nf7Dya80UPV7dJDvUOcH4083RL4ebGyEkd3f5Bswja9jUgCfpPFef/H64okYDMawWRga8lNO8c7e0iYAV2Iv8E6uCEJQr350GNFzvFnVJAg2r4Yc+LR7DDfq2+8ROpD7tx+vGhFC5kperzCI0jJPhk1k9T3Zwx8edlprM4WSlkMUHXXV6W7KOFdxffwVyKY3eDA6TtUmYCRB9ejp3H6z8rVCzhKY4tO5ra+tcebWia9DSPKaqCJdLC4Z5OHw5M6pru6j++g3FVivNSsSJyq/O0lzRF5KY/GMlmh4HOFMcHZP5XlmIK9ygnA/6aNQQCDZkRZxwnxIFnSbElvmP3E6YMECZTBDG9o5yC84YxiABCHyUuW3FC69Yr9fzwcEJ/ia8+p+z1NM7/wd4vDABMnKIhkZmiSPSAn/pGjYVqv6I3z8WnnyuWC3UJwykrBfyoF7IwUmFu9m+iYKK3DZ7IeML+qrNw16DA1hxieJQBGSInPgxIUoz6kZ8j1VG5qB9fa02G/HmQxtJ4aE8/I0USfMxSctrXfJoYKWs6vA+vtjC8I8pvHOb7ifAqlnHFnVFueSyyBfz/+EeEsLhBSh25GjJGnFofXL7LgDzUf8z7VmyWfkRvbf+O3/YXauhyoRcrCHGKZ4MwTdL0QCbdCfyOQGC1WEgGQo1WMXMKnm/WeTLk9jacTpI/4MuKcZw/TfX6RzqqDYUOctydeS8mQLO/hN3nb/80C/Hkinzj/P89hMWLjo7922J0lyVVjSiMmLJYVSVOdbiKSXZ2s2jWmxdKzhLAnuMGqWioIUeYLgYIajtmNXZVU0w/GF7ztwzxqU8isKCsvyxaUhGSqBlBUNJf4pOQAoNcTUAoBwI8KeKnAylbabUJTgYD1J5U31ycv7Cyfa0c88Q0rQyIZldSQrgpMQf7WVgVHFe/hHUaI/fCZ/sg/30xMPuKrIe4SGCBTMp0n+eioN+n8+hmrHyg49EFJbzKWTJRCjfEnpaJuirfvRm4C9wLtHx0RSrPD/YhxuOcArMSqvTS48kGfUAwWqGT9+L09CeIDERbgCrx4gzcx/HZpBCopT9jfJa3kY7W4noEhle8COdfdb+8vYtteDIqB/isJH2DSlycajqD312nCUr7pnpt7C7l2W+A2OaJh809wIh4DAYh5Vlv4byGDfrL4CVlxCS3DQUwX1sJvoOv027MjuOn2ZKATUbUy3pCMcD4NvgqdWxoZMsJriljqzTbbEphQpnegAfyoCgpJC+8ULr/wG5ar4uYZ7Zv7e/hVsmJNEvo778tfdjGmBGUSsRh4xd9053dLA3L7tQs7GKPMu0uOO2soLqfKuJZo9+cUIru0IRgq6gXoO6gaYjWJ89LIRwp+UbRGKFq9AMLjya6ZcRVN8uPkkBNky3E/B+zCf3YFX5uvR2EE+Aejf5ZQ0Zotu/0Hh7SZMRJzvFMVvdYc19cU6q601W5eg/Gi47EqlixF5eQEL5a4uX/xz/JWHM8RRGtwI348xnVSrn0BAVFxx1x4I+oULSAZC2mTSmmM9WJxVzXiapjKb3+kHU3/6VOS/8R6a1nlXWLhGlutktXqmk/zFpx5NWMu+e5LbOLdl7pfqW12FR8H8LcikQ0ArIL950f6Oq/zW4cX+Yh7Ty/flud90qUCIDoV/sJUWbuIaFNdfDcG41xyuUlaGOP71VITB3eJujM5uwCnSjIMTFzB3AehukCwV7NQLv2SriA5Ogkst/Axzw4UBIxg4CYeN4BFXObMQ3jJp6cP76w9SQSbNm99l+sNyrsT2rHjATmiS/Exj/K6qN1RpgHBhyCQkoAVw4MtoZ4OZJGc8GPr26HoRfgQLWJ7E8x6XsGzigHH2vgOMS0VS33D8m4yrim93xprZDpMTHiGR0Fxv+P/aZOUVHMWDqS4U7L6XkDTePJPV9Knt5oCdkGM9yxlHjNU3qVtG4TBq3EknB7w3h6BDL7g7GDdQhpXhYHa1800C4Ilz0PoGs7IZrWtTZsBr0BtImw3eJclENHikI3V2pnziwkGSTadtNGt+aoz2lgSQvAa7DgoMb3nwfTzwOvvfHoejMeL2WueIgXuCGv15UXOumkgHqvCoiZvfKMB4jkGaXHbHXlLv7zDkpoZRwb4SWtRgj10IeWNH9zroIxV6N2vim/Mp2aAlEdc2TQg20FbXCM3A2PYTVwF5NR+9xJ6pOGseAjYsY6+hlyr+1gkXIn5KiuYgH6eXj/5hH3q1QIFCIHSSW4is6bAZRvu7wZXIMZiZ4XpPgGTE1yoD83XP8UpDLdMbH0O7zN0fC0SWi0uT+DmeOe2OdRw8BDOgBhEO1NN0zQQD0XnjkwxJ5v410YNQpBqGq+iFdVfcoHuyY1wQhBHzfmghaPeqfIiBRmistpxRIaNZGLUikeciAUR6Nbt2p2uxJMC8x9Ecv+RwVQdSW63btDkvLhZomHaX3KZzQBsWKvAc/+/QOnBkq/Mjw+77kP4N7njLtqEKSQ0YCRRyHYGVyrE8aSUYRo5K4htxLyZ3VvjT4vG7ub1WVq4UMw0LSAiZfiKpWgEFOmGe4ntl8TXz7hXe+UmvNdCnYIzGh2yKMJ4QmQSzhciOGGDJjbYU3Pkzb557Ft5JnBHtfcviNSt0XQ+ISirIsX4w+H0kmlyNZy4xQcnbunpmiZXkyQqrviUO7VlGTk6CK6KZiBhi5uRFhfHhXRDAUIHtZF5Kjmi6qg9tY3RoclY5Ojpyzmp0tUd814dPeNJbs7Iksd9LQoSBMn/qv32bp4bXn4tYUphNgpyoRAnlo82O+8x1LiiRtuL/b6G4W1BycrwlVtxI+CIC1DsIdYXoxM7/2fbBCQeKHBeTJ6ETegPmUTOWn4xJ2uz8X822m81aNyojRUrNm42Ua3H0KqByA+4NuNSj7RcULYxjOnvNp4enx+sjhNVuKuVFYkC4seiCiF/wPs2TB64X4CatW4s3PEx7DlFsp2JzPtUAN5fnuCUBfMDfr5xg3FXkORhdvABjvGyBT7xuXWi+fa7P0QARPOX4U5fPfkFwNjB6cMtRGvoGPXacXTHVWLjxPckFnTqJ0R4OjUXKckpuTiymi2gCVdo3vPMRmqfLuZ9Ju9eeDQKrZL9BnTLX4FdfkRKO+W68rNgyQqykdVj2dpJj6zNpW8Y7EgF2y6rTCrwLxWJG+4uBDgcgRb14+o6TBcTMYFY7YESBuJ4+LMYnrzc2jLsbbIv8NIH4fqVp7FOMuQ0DZZUc3lidjg1ycLfTui5TrmmlfVvzRXEi57X41QFzLdC1Uw680wzp6VJH2xHwYoYxqU5ZcapgnJGbQqMV9Euj+W20aL76QdBXvsRyL/Ns5z4hpn2Z0vrvMi9kqC6G4X9NCxPwEoTGq6u/uq9QCLrve/bvjGAeb0wMNv4y4fT5w5RuM9jhf3LJcWkYl2zzWAP2EbtDkxoKGgzYwuNKYao6OWV1oc3GBRF1Iw2QLZed8wSjRghYqI7/tmHgJH9vW8mTGD31+sBVsqxF4JLN/z45bHqIGNg5K4h0iHjSk86sFDVPIy/DK4pFOp01PMN8OtcVKqjhLSsGbbpz8dJjqUbGYsMhcmfgqf1E8ExJG20z1HHvGDqzd8xNMwMyGMjQQeTwVE/EgFykITpgo5BdGNLeSGG5qrqAwmkDcWoZ0yCET0DkYlGC3K+Zqo93rE6wxZnoDjWTQ3U7xtOc9WxAGL1xeVIyP16c9x9rikHbfqNOEEkU7FWXV+UshxBXj+Aa9fKsoTgsTdJ5nsMyBr1Rcy0nEOM/PvbLwx1FHkAF/QKISNtS1vkfPw9vODmf9+qrZqCkY1LDKxM5BvZ1PASYAchoEKarl3na5yokpXoNQhbCl3PAjhqexJ06CLOYzWHuoEa3r1LVTNTdlG+jEbZjio6FnD1tRjkdx5QZNghs3iPMBBXPCphQMr06sv9zb9bC6BjMPwIGpMujNijmC/WhyGUM8bG64bQZli4Nmiw4En98a07r0lnoH7owkU4BHn9ya6KHXTwcG4afAVh8zPom7OpFWtMMmx2/unaMqMEohOucISsgEDFqogRMmLQdAmWJHp2tFpOW2HUK8r0k+4TAM09nO74Z0s4nmBKtfxBFLGvNx+zGS18B99hcylLVhhYjdrIGKfwDXCzR8MObhy9y1ce7JTTlkq3UIZCTmSKcaZktwiCZ3eooIdDXQqcY59xI2LoN1IhUc1l9ldIwxDugYm4mGPQQ+TvVlwya1n11FkpXxRNWxpxYJP5ZCo5eYmOBxs7Ywk9NPldLnX7bzgSpZz4CAGOZT1a2JIWPqohvVFiUSS1MO4qTSW+MnIIe1oL0/YrzhelrTO5Pz8V/bmstM0CEpY5BvAChU3Y9ZR6VNeIW6UaSnw4lKpf9j+A3SrUkp2uWgs/cCLUEvlxyDXW+6DbuCPoSEoVxuU1hUdy5706m8MVkzAVYZgkpF/H5c4koZQAZeAURAwAxlz6AhYPRgZUt+G5RCRXRmmrJql0m7gHmP+0nvHSugzr2yNYEMH4nl9rhNThhXKal1SIUfJ21zJ38jcsyU4FYjw4G6uEuK2i0uvg74ULZbxC2fF9HFlMHEKuQWd9fm4JhH1jNi5bWTcJ+IIctEW5kyGWR5CpwbB40x/mqk18eezNModdU2qoZTaNh/n8C3XCBCYBvMbwiOUESvw76XYlxbA6OEqccTWoCQKj8E/1lleJahpbYGylvPQ5wyqxr/cJfjXTeFtLLWJk+SGReu+hT+9xDvlzViQUp+JYaeIjW/qP3r876t0bqgY35G/fpWkMO6TejQbw0CunqtylLGSLWhX2a3VWddJC+fOk2Q0RSqF9AsL9ogZljxoLTRmMev8UpAl5mo1AIr5nEcasqKFKhAXK/KtkPV/SGnCWXk9CXGyNMOw+PkGct5RjzjTA+U1OO2HevZMdM7P7v6ZHChlXH5gvi3uVu2aXa1dpo2LD/kj8/sMP1Yuqa3HtiLKZsJ0k7XnWGHc0XsujqGAlwCUh9NFyx1SbMLClDeOw9RPN9Vc4+9eNZfmINPmSSP0xRxCho4Yvwl54QfWXb26UIt0IR9L9KZYB68U+gZmuwq2gkCwaZwLJ0l2LWU00Any0zR5QRopOrL4qgPSzNUdFez58HroewiDUvmuin7w8wkbXgUPuaavewrNTRINJKhd8EEgCPa4s9+wLzPjaZRXC5fglyU4DHpdruiDmCv88N9x4G9/V3RG8eLpX7/BExX47CuxclbtEQZFtfEpKUjxLlEpiWCqEglvI506Z92u3EAYi44v1lLV+Bl9Kad7RZM3pq0IWHpXJxa8xQZlvtzW+PnFYsLp3ECkzkAaNHlUWIivzib7KKrKFahyyl2oIQNO6Gi8CQuRBcc9HX2XdQsx0hjeSnoGG5hz8mEPN1cO7gH5oVq8/LJXTcX5YNYwleNB8Mr9D+hy7d9XUwouGuPPVKWq63gNAiuVOh7hss0Z1sFBX/f0Uuk4thbDFGNkBWd3bQ2FrRBOCrE8o2k97FWKu70X0MOGr2yZ4OYAbC10YbQ3d933XjGi3cD7O2nb+KGJAN1KzkY2AjyW6KhW8K2xG6uSONrjTd+CV/eYumiVK3ql8E4T79MBH+JWV4syExGk3TRnLKRhu50mbjUaeQRVXK2fpuP/fCn0jPTYvl9DqQR34MgLh6p7KDY1HRu+hUZ8bR8Hz+uoGm2uWVeYmoDXmraDG2VnQsYUndKB/Uz+1T08/f8WA5zLBDWZwuPAJzCTkenRuV3r0OEvOEey7wpmpj7RwnmrimuHxcHzXRBhbrwaEFqPHmw6mzOTMPdf/vAE4IvkJNEA59iz+0MUCBlew7OTd/k9R2KDWi3WHsmLmj3v1sRGZMI5pPXSPLDSoBZoYUEG6Y3Y0dWku+PoPrTwv3oKDLhSaAhlPNtGHrIV2l8wL7Ozcq0r/yDj79/jCk05duyfNETGke116wBOODf/Z2pc8hzZxS37BSbu+j2ai+GFeo+swTjZF8HpuMDEviH4dYYQwzncqIJN/REufikyB9TGM7ZBYdaH0MqA/XWQ+iIeDQGGveXs0njhWb8qQr5BcJdwv8j9ZgHYjLt3UdsEAq+VJKpgaC4gyEMt3N2JCkzgHzgaBCejBD/nUeHFny8VHugDSStXwZu52I1BYrY9+Ksbp0V3Cp0AOX+U4n0jXpMte6npAMi8zg7NEeNnwZgYnm7jlkfzNPrfadxBVZM/H0WKEeaKjeClMICp65De/+j1NcTbGNTi22XUbP2KbkFC13aYRbs6JfxhJqtnUxCGVnWJGwZFZ8/d1ZLGtBYiTlg4WEWY4LNMCqUvj5Zi6LPNCfuaEg7riFieCTKqqLKNnRpIZpMnFpzpQEZNWbHmLhtvFNwnI02q6XkIWIKKhiOE4sdXfgoyTzRUJ1aLZYL2sBt5z4CvGgWhvIKsS6cKZW9WQOhbzZg2KKbgF1XuhLHdWfgM00+Wly0Fbex0slFrR6n2OPkDunR2IK/VZI6A0uDQOVz7bAtzmBy5J2Wjr9Wt8EfbxIcRAcBwfigLX+JsH25ldsS4JfezSebGhZKbpvShIhemkMO6BMYuAgfsW+Np1CXZRJ4zEy4jORn+MpN8W4A326u2u2w6oDF50rBhBubDz8bL8YCAXymjMEpk008Xs7jjemquDIG2DbjhmBN3NMsqsz04L4gukJ9OzeKG42rk+JMiE5nTrpPKwJSzSjYFAa7yZoaO7eosT89FNF90uMq522+AW0H7Pui86/o4N3GRSs205l/HIzc4HbfivdovL/2Kop+40ffUfFcMnezsTk8TEq6r1cGa4uMW7foj30dxemFCXZnzZjl3QhsX4e4XUDizRZ4Ljrpcxje/RKLm+P2aqPOaztFzYjhvgqr8Vonm1VkQr8HZcXYIcoGHW63ftGCEISkQkEULqGXwsUoLcA2cTWnSMTZkJf106kKLMd0GKLjPpgxaf9+oUhrxeKIwiiuWcf6v097nsI65rEaxr0G4T0f2xQTTiOPZhhbDH2GCQqMaO7efLOB93DWPeDwbc45mkD4oQuhy1i3kh14UBO0ER+Nt+T55DuAioXU3wmT9KFbz7hmY4Vb7wTkJd07Oqy7rN8uKQ/tNRKZAElZ0ZCd2054Jb+P6O/05xWcl5Ow5gDLCsH4AtezdrVRAkcALFyQlCr3e+VlQNYgQQreVA2BrykaDYzFu2bLHDdxoElaXpQ/snkBuPXDjeSn3VhQvQlipKWz+6PP1coegVCtVOYoHNR0mPKgdAf3CRWXGVqeaHxO9BTIDx0RVNVzquG2uX6A2TEvcpHp/UD+AQqr7HTKUUnWLYDcxlcPxSjuHYCgIsR5RnBPJNFq51auhtgJe+oRmYq2USvLbT4mVvIHykO/0gm14v8rKoPB4Uuk7Z+5mZW+soW38c/Vql5aTNouCtMF+cavv7xBiUb1f+UPWnqb5eSftsGZL1v1nu4k+sGmY4kgPSlh4VkOhd0tO1Bp+gj9rJ7VKhUBgaQIbRAfRZ4mzxP9FVnhJWMU9jlJCsCBMQGewEjTmvd1qXsNTWtLZ1ZvCosHPv8lV1qD4S2VU3yL++gd8r5q8KTtACpa0ZaKB1lTlmsB07JQzFyww2rWmAHIXJBFs4JyIGFp6VxLWojgKwcIgCfHjeMJ6roasGymY2BK4sj0UKNgSs5RZ/84SK2E9FyjstZnpgUbIOwgt0N3H18KdJfUJVehpU/sjwqM6zNBQRpo2V1rxDY9gvJirMJlfHBnxE522Ra+kWzbLhBSGxT1kzXn4iDxcqqLwktcdIH5sq4dSjpMwqFfjUl8E424mIykhw65T3vGXlb1LV9OdAs4iNspnq7/MXoBrcOlrPBqnJvSH/aw809OM9XiRPo8U1Sgj9laOzMH5lwpzAcNOAjHDA1GAs3M8CjhJ+fDbFHGwsR31MAgADDE7WKr+XtXIXAukt1jlS15MX3XGzcD3NnapeEOvFhJpvPyJ8qEPzhrtX0mQ/EbsRivyb+pKHmMQy9eYFNSwciy9lv4ExcCsuaYNuUvOvZxN8zsRx1/NSJEittgJjdRmzCLa6c4BBzbVTID0okpFNCcSzOr5ahAnsPVV/5WMWo5uoAOd7HLXJHjb6rblpTbJPtYTt3LBpSfUiLioAlNAFBHkf8D3DNhMue27DIejKLyJVsz88KtDDx+L3KvVlXBQODA1TeLhSsg0bF8SE6etoXz4nHcAQvD7DQWeqbms9y/MxdEBV3RfUgNS0e52ezf5jNLSTBLfqyXgQs10RbXXD4ULYCpYXtR1t1XiAX3qEHITa9bqWVitZ3tupdjD/DSDP1n4lb3Xh8sqVqfbf101/Ehu63YbUrCFDGP1CbXaxVsu30ho/Mk9FUCb5zOM78CCYISnN++Jzi3hUggAiahEtwSAK5OlUNf/0PI+yxjNrIRd3fNlUbPlLk2vkVnJofPQmfepREU9fXpmuAFyG6AMVQWGixFVZ6p6AaNQw8Ioqpg2dolMO/lgoqWzTnkn5LSSirY2TW4bD2yF6egAnv1VW03SNyM5TcR7/Lg9VQXgpSB2jOSb6XinZrC/JyLws/VilSpbXaqExGy5E901Uou5t0dCoL2hY8e/AtglLv6vSj+4IGEhiVDrOp8swUD4i4s94C3wi7UxkZI1EUlwgTwoG6oRR1K+54bwGfaBJ5H49V0x5ftzgNDwSsJW4mUzzoDhnFlfyTCif6mqkq5rH+as5qHf/EJRgbTuqcLHcK6kB0mjMWzLZIGwwl5dpyITr/Y64wuOU8G2l+h6Tp4xXzW28EIq6SZ/LHlLL1poUvuiQgcIgQtRAoQfMhPH4fpVqkeXyA5c915F+hTAgTh5zavJ0qHdpPyJYXTf39Ycf0W/t5oTGTS1nhgPPkYj65mC0NTx/h0FQy24DCAV7a0Un3eGyyPkNAxMwKMCWZlir9X1VTrhWAHCYgRvpQ0crbxv/NVYdXSa4AFFY8n36tkdCl0ddKbFUY7uY38V6+MUpF58KIFt58G9oDHLq+wRnjsRC93h0X75Ye3MGSVQyvSIwvRRZWy1whej0L4A1Wd8sdwZFD/w2hRtisZ1+swq3drTYFI6nfsr6vnpbLRMfDyQlHiUlYofctt1yLoHVvbUulv2wALJRku8/5nszVrUv1vo43RJo22CtK5yP8kMsHCACbBAc5VnYWTae224tNICXd/4WHS/HngDTlEYxgDFBAtRYv9yTCVnR8ejsvLULfhVer3bMRXsoqekdeLQbtp2M9B77ij1X6P1zxezn1xQX2bYWforfkEYrKKtNXkm4+12IVV5AVYWtX4k/OC8PkIBv0CSPdB6+d57g6Pvb2qJEIrpKRGPsUZTq7Urm+OMWimlxySM+X8P6Y4CBG2Ch76R/Bw49hvwLBSNTNoSDlmhtgYyL2gO58B6q2a4slOuQmiDH9doBgZ2vm7BTtnLxxzmgzXI299E3hDO6M56fGzmesY4hn4YKv51wBBxSxQe8djcurBkP2NHpQCoEOoaOyU11XSEI4d0ESJoHi+8ARjwnTdIs80fU6LwP8mvC/EmSyEdYxAAq+j0jepejWXa6pwY14xy+2dA/4tbbdexIeZ45U2FYyFU6XL+JJSWDpNwjm4Ihq9+R6cw1JlCM6B77dzjTKToM/AeW+dh5a8NEtFBIm2BjX9Jbpm8+hQUZ7Nyyckuze86q1tQ0otx3NTdLWV5FnWZUGMrVbDu31gzGaAbiTf6T/BOx1bAijL2ZassHSZRjaciBNLX0X6Z7Ir5d2pO+TozdPGhyufunqBAKLAYDvjklFRLBF8tFWOsqZEtWcmXAQo6EM6eYhr9suDiwfohGeSBS8cWpdtZ6nlq3jufFOEks5KF2QTi57eGEx2fjzxkqsH6I2d86UjOG4ieGMtyIIRpoJeeAR6Evv/hUUyAfYPttGvwTx8/TLxkdUa4ucjQVK5chl5a3ML787mEMuVYX8zXMKIYf2LjHG+ipcV2YfN1qc3o/dd9ZwTFQOZPera3psJigat3hNT32K+J8bsKxlZFV4iXUFNKHx6YcUQJs0FqKeJ8nz4ohNW7ZwZrzwzZVRz03Z7aGwmkibRAeqje9h/uaD3UZsxiIt++fCjubnJ4rZR9ksOTEPo5zjvYLRTZXx3MgHgJf/6Ajt5MvfSqKOxfnRymw4rJHLwPaAWI7Af2m/agwWyk/DB0KQyYxOp9rGqk333kHgQ1Omk0Jf4nXzbMcAQLguqFDb8WvVZEVRY0kMOgDeVuZ2BjcD4nKirkrFHKst2cZVfsg667a+L+NagkKjsByGJMACkiMOCEKD6xrKdKGv4YIuqptXCG4CigO9sjAIx+6hXER2iHesTHjrSI87CGsgmDNu6Bd+5MR/3NdjUq/E5jYzDUgJtRsXaK4w8hOh2jJkwBoiUjZ1C/Aec0UUXwdb84VAJaNzNFNQfTcuskLCD6ZXKnE3tC+f5OFhUmc4M/TNrjusynvhKbBUpHXkKAcJZ7MQy8ZVoMvt2FGtuhJsSEF9F5rCvSYHmwFLpXDhGa7GtEET/tLN3mZy0IJk0XhS93Z6IVjTS0WKcCeYUd+S9VKc1AP8VxkIXKLXt6RRXlnkulwx5kjCN99pn1xm3WeoipB7QdR90muqxM6iER94Yza1PiOX4vicRiSdlNK++TWOc0qdnFD7miyVtCmBIv4Pe8LzteaaQ/bmPA3Lh6iyNnFfo5vSM+5r/XrFnx70y9iZTXPCY8DtStKxJhHRWh4gXB7QSZUiwgQR/ZMCF/3Ncxvc/pPNVheeX7omxdl/bPd9bFTtn9N+dC7wh2wEYQ/xY32rYHPyAgeqyqfbLw2e8slm1/HYCMrWWlemf6YusUjgxvyoSKnnYFIG1jMPRsMZTgbFFitQ0ENKMITfeVVO7tFy5MQDLsX6Vw4dQGpdUYPkuBJB9RCnnoPP8sJ1Z3+eY0N1cSEr0rYnLPWR7aXNF/Kg8RQYNiEPVtjIjbSEG8ci26w5zaNBDV5gh9+6CGpH5pOM6eyuuEL9JGIyXpk8W/tvQOMEiwmfyxmerYWcRpLxhaESoY2hlkazhV6YV90UZ4abzmLoo5xv67XjWjlhfUeTJ1jjypFoU/M40uZFHQBxGbbpv0mkP3PLcaI0eTcgDikdUjfGItKrz/UlvbXRa8UYYJSKsMkNAVkZx1rAfUOcxY0xzYVlOGLmAC0iGo6A1GvgY6UGY03LQ/vqbF2OQfvoE4vmpkjp9FVj4BKoHBQ14UdPefQrEx460eXytA99WwVSxAFsXjMCQt+kHujYNvDW0bu6amw1TWfMU7HB9eSW6ymIHmCnUgaRajwAramL/DSSAPb4cCCprNTlRfKB8qn96lLswa4iUffvVpOxXM5sOJbUIUMkO45psjbBjXf+Nel7xgvJLJn08PMuXf2T2m7WLhXGZrbcq1FSkdLDafx+vkgl/qooSP209xV5XJe4FRtT/FmFsGL7dKRl178R/MhZRfd61ljcK8Gu2OFUdwHUyeLw7bn0Iv5hbkCYVofEgIIUE+N9WmrJXr58+G0i3ETjdyNBZ9PTbPGRu5D4HJEc4ALDHpWMeaK+MM2eJlR4h8crDSObNNl7ZxLv3UlJlpZ0j+IJ0MLBbya0w6KqJBbdxGzun885jj3hykYaxixW0URNVzrhs0sCpfkP1trHpjF3gMlNujZPcpBfxw8BsbabwAp9wFNZYou6j4EISX8YsE1G8+hmxop96ZDGarUj9C1YlBZ866/qstqycYtsdptpSnQAHLLm5FdcKK9rW9r7OtgmP8DO9AV0Yir9HSug8PUnOguVQqBS7n16LMr7qd6LCXJCMRNpfMoOqoQUFczpz4TqWUFM3KwLvCAH999WU5RoZwdBt6LbiiLuWS5OZCMiAKyrTYTshnwIVi8zPEHnptirL44ETmvr/f/vS9IZL34UnvPxGmEkesnHxuA0+KL0sQlFdXDLMw7+gzIPV5GAoBM3BNRPaR9PqIbDrMR/+joRrPjVhLDMb8E9/A0LFmHBsOG+0fgc+mUiT/gvCWrv2R+T0R7wPe9qSS0scOVkjL9ZdoqjQFOcamdyMV8NNxlCLBTLOMRIFE/2gaAFQR1Xjj5cPgz/0m+icUdLRySLhsKIWbIPXutfsS2wepfRxzs/0hJGgBBy42HBCpJFn4T0HNMYmGU+kSSoDO/FCgS1BrPBn/6bjaI+8UJAWaAvJPhWii2tiHzKX/WKw+wmvkwoQcVRGrhJD/0S8i2CJNwMsmmTYO+aZDHoAfgJMgFYDmfNmI5ni97xtqY5/iHQ9nptx+3hlKKiMQ8o85lTaMmiv/AqPo1a9/1nmz5t7NFb6BEpRQROVhXkJGmnZ9OwpiAU2lVT0ekUkhSG0BvCLA3ArfkeB4G6cv8LpThSzo+hvAt2ww2K+0Ulqif/yBgpXfr3XO5q2FvSYkE1wlk2rcNEadXDO0PlLsw64Y5VONJBq3V6KglU+vOgXO1In4mev/KDaL8NfaiojYJwOkM2tuOjpjiEgfgei6lfqAAHXEZUI+AnPzsG9UCRwbnHIUrGG8GYF9CBuTNZqkUNfok0Pvb05Zc4+ME5slILgzIAX22psfx+4uys/yWALzND6ASr1+GcEb0b5w9lqfXh0RvZTs+LihqCn8VoOsSyObWcJOTc2CssZA8IhXlyyOZlWBQDfi1DseRQqmh24xBKl0Mz5YY79yrXZo5H+FfWUGADRySbgkQrFd5RGYgJV60bEv+rwrBQW0hOhIcSPJa9l+Vkpinhm6lzmG9n4CQWwJG3ghDgLwTa8ZX+S8TSoJPcTFwo8nGvqrac+wXyPfj06iw6G/3HuRJuQJiZ4VxJimcVm651lYQEHQrCq6VJIHhjlKsSNHlB5U8O10Z3YLCQyucxdqsPvGW5+kHLtXTg2l7p5wFBnWM0Ui2VNJArF3BnHczxPC0VqZ5a5BXn1slDXAwJq/i0FTTUbnrgzlebivte3rss7d8v+giZNrODX8ENwjZ2dZH1/OHmGLgyclt/xmeOW7ST+SxE/abSyWgtKwX28G1YdwiL9JiO629986TUa3V3NoLtt1ZyqpmBwKK3zQiDC5ztK3XOszxV8at8rK9dnWcOzuLbAMCu8G3Wlz4p8fbPym8YrPjUeE0Az3yJjrDQ4Fq6NUQq1OnkMX5HKtddZjrK19ohhAJjo6TNJTna1QM4BRwsW/EexhwaNLIFnn5v4isofQ23GTvKxjkgxv2MgalHB6ALd0i9kpjh54O/UrpG+0AP94xTUuRs9ZsNfRjCQa7jHRqlAR1Ny59in+/s8wQOm9Ca2dUj4Lg4DcwEqgkrIBful6IMdf8fvTIpONHps9+Uc3h2F3TG1+oQZekKen6dZA2ijOVV4YblRRkDYpoqAspzPxK35d5ilS+FbBhcpOmAULJ9fTYnjm4nV/Y8CG1LiGh7m2hq/YLoK7Gb0Qp5hA4qhX3wD1dOcMRm8PMKMioIY5ShV5QrVZUIZa+SSYGZqLCdN+xhIWU94a9UC0EWgXoE/qSGgo4wENt4uNzUGGGXnEHHLVeUyYyLVolPgDPxCBCsUriX+5xk3BpIMNt+2asV/Z664VMaaYS0KI3nIEO+2s3u2dd+o9oXeAvYBZFnHpIimtPwx3eWu/ouEoeqlC6j9+a56H4KEIdAqn+vpfgLDdHzYOUZvG8gfEICxkblRxBAwrmBbojfXfUvj1oGyI8nvFHJ/hJOMQHDUg52byw5pEZk5BaiFiFcwpjjCxbgS74+lhoEhzAwZyzppbcxXjf0q0idUolvHZuDCVhJwB5zQACgly+SGAiieLKmT0BJWZjxGRRyGu2kDUAyTqtYPUnmiAZIpG6xp2P1ysdc/cAS8jYha8DMTShP/p8q5n9/ZtLQ/l8NXX96VG4DUilv7NGhB7EnuVQOwyjaZKSYlmh1ceYW7K1y9bLgmnk8+4PGX/f8cDy8Bu6qn6sXa8mU2SDbaE+9P0baHT84IFe0TW0HpoSp8OnKPxc41ReEBu7/xFA0t1UJLLLBG0uuAuN3dCyUJI4+Xb9MvHAJfp+s3zjbzOhBTDCGwjROz5b/5n4qnla5hgQ1uerXa4YZ7BGQNVK2Yi6QJEYK03n24Y34RGdaskiwBxyOHLZq6ZPOT1UU3nwowx5fyw/x3VtXyqQWf9qkY9Bo5He/RePrmQcy+wpCO2AlHHAD6ZIKSj2xEctYM4B62jhRG0aixIx7yo58HIfo/JALXcxzl9Mn3DD/lTUSkgcRvFpS/M+YKzAC+XBWxkcS7nKnzXVEdaaR29n+g6tIKYSYEoGUZQA5ho/QAMMVnmfmi7aNEyQiQinV9jwU598FEhF84uLCwsK09I5VFw7l0V3EintVwgvd9FVDJ6aL9UYVlCJlnO0iMGGULf028jM/GatlfvZk0x7snHsCkPoMuuBc0oJ4uT9wNVBgyQ4dhcPJxjSeLvacIcbcw/sG9+N82IQ+FOsEUPTPZzzsSdSSDUg94KRuvf83BfzTJq2lz04l4P+5WlkChyxv/Nf7sbDdce29dY3L31DMGtsfgpLZ14AFPeYnDKGkCtzfbimOVO8g6zjsD8E0JQQAHLaX9B18eq3T3dI6wz7lDg1zVW8FGl1IQEQXjVPd9EX8A5GFh0nD+OWyd0ze5C2zk0WZwc7OthiNJSsVDQgVWH7TbagcCYfPPahbTGUHn0Co3Q2qL/P87/CV+1YpqGzHowOa+9OB03Kfhc4QyGnX0ndq5ZzLUVCC4QhyF3kdGtNTVqoN5K1thWp34qlJTtG9Og5LcbC5E/QV8yn42leV86yImSAOP3QkrtIpm54/YpngTp1uRGXFDULW9WtKk8aaR1HNHE/v0ePIOlZEnFi88K5iHyDcOTAuFJMOd2ou6hNNeQbvmygQYiB82WPsu6tigZQcnuL8Jm+roXu1F8EyPWMA4oeGy3RNRgRuE6D8dDOvnQ8EY8Sv15GjNzDDtGyUB/A/DYf0LTpdtja0rGin7Ohol+fL7MAoI5blkhuj8TaFPa5GzJ26roJRJmrXsDkEOP7Pkkako8m9pNSmAxj/GWpbVgjNvwOF3nW5ETsm4WFlpcL3jiCQVVYRB7dl8kiZPym+YtxV3p9NBzAiyH47X6JfD0iy2OWqBHzsnZdjiBceQB5uGUKptHq/R2AmvSNiehlePg8SFfvHY2lX/aPg2wAUCUXngZlOJHKTGc/6+XF+BokhdlEIjtONhRJJjbrszc0sSuXc9jLmPfmmFjfVp2tbRF9Qmvq66E10Yi4EX2M+XDqRIqdozY8WL8WwMLSZtGxC+ksQzN0e/ZA5FnmdH1x2SMon2mpEZ1XnLafVwQd4LLBwcgYxxxOKirxX/mFff0DanruU4UTYu2pSRFe7PgBITqSKlM8ScT6umHJZfTuBe/zzCzafrx6rIA1evosqQQC8b47YDmetbb3rA2kAwfrQAhcXjvpSI8HGpZW6G7gVczslvT9obW3saUCIeKWUYjoJBDraqbny8BOYVe5T6yljf9QvgMJkge72LveyxVH2sOHYdgyLKLGQni8Ztdycv7VEpWdabP0cZWvP0gVb5mH8itzv+nZZHgqZ6kbcRPkAbETGltCO2V1ULFGE876FJiG7KH8cb4wIFE6biaAxfgPT4URWy5n0ocrvV9yJFOoCTCed0T6iO6FKEo6g9VBhj/1k2+N5sff8dzVCyNR+chKW8U0840drp+f61R4/TviYja7TZLyoU6bvPO3DmnBcAwPE6Irnl2/AW5vjKahc+a2cfoLsphgb6a4zj3jwwqugJ9QbLhTYyozDhvjZWyrx6CSgVckCcMJDc6G/wX3fC0F45cXLQWWDwkPoZ1YCr8eLTnEZt1B1/YswhVPJyFUh/ZbG8Vr2ImWXop11IM0d+Q521vNkfQWrsGqJ9ng6di1zd2pE4sWgGZ6XF6aTAuoxnG3dBGog6ZJ6G4OdwPzzdFnLY1uku96RxK7EMTE4HrK6+H2pPVijqQRegjiOypz8ma8T7COjf8yGDGOY9WJDS2NuBSo7iqT7YfDykhgMIyGAaibDfYjZzBp48NkIE+NEbSoKbL1XBMiy1QG5zB4aeChdBHu/VuDJDnhOqoCymxHnEJ/gBKGdMneWJiwKMMmN6QfvJvXBMrQL4hG/RbUDD/AeKMsFbVipfBSXSxjI0+PY2IPzOU2UPcwYlb6/EMQIABXmasNhIZBIN0UyTXqFdHtWY6jIL84n1Gu5lZzJtaAG8lIbTwkdr2s8KuPSi8f62bhmTLVFLi9msSvelsyOCINJKWADpk6lu2dnkag8wFaxcUG6AwQzJnho9pE9KtztwjJoa0CNuW6yVoXKko4AvbFx48u0mPuOuvD6Z+QyJwiZXucSLHnZwWbv64BpWCe3huwLsihvnqWLRyoTKVpM8F9VFocooe96seIx+ELW+EWi3mvNdlB7HEhi/AQ9/LGMNJXjwnr7uZNJCM/5aRu2qgRaTWdgru5cHnyyFg637a61HOr0bDhDD2WDHlcZqYnvoPk++pLF5s7FkWXVgEOMseBobaoLowZXDbF+0nf6DNAq+0x2C/DPB3TXo/MoWMAUi1bORymdMvQn1KXSY5N56zq4vQuvWUsrAE9sg11U52vf8Kv32fJKCaaFuXBCPuPEIz3uxNszziRxQ0emyHFrPFDfRm88ridlmP8+375GQrU5EC6tLKcjLQEkAdEebnyL5eYUohhh3zvYZT78N8YSQL7IvWyBwfguUJfzUvGRVHxPp2TWfIngXBk45S8J0oNaYmZv/ygMe2DMsGcdW4b3NjoOluQC38V2vBYfal2NALVk9JXnEy42lVRvYOryYVEjIDaGzZXuj7VzHvNyMhcr2sfuSWcP/n7N3qBI552auIMOxl9bCxiDI8e5o05ka/biONtuoQF9fT9SbnkVVgxX1EInR6YP5ueRopmD/Bf6dlOsFvcREX52PGGNCZvGIxiwtGd4TrWy8Pv2OjV4P266BrW2H6MdGJwaujBKAX6Ibs6Qw3v9+UOvfj4EAE8brkso1UHqLP+xZlMbPKXnkiggVKIBf5jgX2PkwDy3SG6Thd8JrBlWpToPts+Hg1NZbqoN/aPNlHAnc50CAD5jgGdYqqOHs93JO2fyCiKdG8lIJ3GvHnsQtHZujrUSm3fnULGm02DWq8tBWX7gX5J0q3FtC5w7WVcNMtrKtLy+UmtI6PO8otyqrORuVEHVMpv4KI8LnTFDArgmsWe3FCzYqlw5nBN4B7syiM/slTAX3G83f2ey+X1lGS8jWRsPHmGg2uZzuAXyx0hKqK8etI9ExfoOIX+SRduz/IcyC/My1XXDoXAazsObTqbDZBQx6bnqyzQc3Z9apH35CvcZKpj0bt7FT6cP58/z37yboXPPQhjsBBvGFvmTuCOdJ2g3JMrmkEydEDTUPVVOrEJapIuAqxl0mi64phszpHlHMbN4bWB7NgyyjLETkZPnBG0WfiaZG8tYiKSthwzF6ozz8iJ2fOphJI/IuBM4cYBZxUyhCCi28mS30J3Nr8U5TwoxdiVpuWxE5DASeW1empiAtki7+dv+RqV9s/WO0n73kAH8MiEmk6vNsOjpcO8jqnAVyf4hwHZrIUpdnbzY7zFElI0z42iHo2Ima8QUJJw4/ilST6TnfHWjkIG8Jre7IMmVmtkjFx2K0Pdy+yiFVqrZNTyzvM+Y4nmAbF1eX8aJNlrimRNuUVKxN2uWZvl5fbOCyWDTdDnYX0urryAVq9cPKNg1ECLrjqnjQTf04IcaPip2w5hVaoHp69zylMhMb7Dch7+zkGSLhVC7NlvmEd/UVHrq6el8ISVfHVegL5TtlRxEfsZOSkbsAVcIyMkm7zfzs72jFPYZexIezsKojHhiHSxoV6NhsnGPPnm03eFNEpBS+B9hIgbDh8hCxnG1H5JRLNAI61ebTTzc/uKeI6bsgn9CNktC1/wLfbx4DZUU/6jlRGNHg0EtOwULUwAWbR7YSbyGGubbKArq6/TaBS9ajQKOhk8tZ7etX+GCug3NQ4HEa7kWXmopW4xRheuYPV840Ra+eB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35279" y="990598"/>
            <a:ext cx="8440617" cy="4572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36922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kern="0" dirty="0" smtClean="0"/>
              <a:t>Performance Dashboard September 25, 2017</a:t>
            </a:r>
            <a:endParaRPr lang="en-US" kern="0" dirty="0"/>
          </a:p>
        </p:txBody>
      </p:sp>
      <p:sp>
        <p:nvSpPr>
          <p:cNvPr id="29" name="Rectangle 28" descr="Enter Chart Description Here:&#10;&#10; End of Chart Description&#10;DO NOT ALTER TEXT BELOW THIS POINT! IF YOU DO YOUR CHART WILL NOT BE EDITABLE!&#10;mkkoexcel__C:\Users\nlarson\Box\RIDE Knowledgebase\FCMB updates\Chart Data.xlsm~~zzMG_Chart29~~02659a67-36c3-447f-a251-60c4e2c5a443~~636415187392382596~~$A$10:$X$11~~False~~False~~Falsemkko__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S8KWlUv9qtWiRvZ2ScsRxchrNLuqgT7EFAl2m4yYxcqadqzLQo6aj777r3aEUXR9Tgwa6EgJvOJAivh7T1jT9a4WW+nGqLFoyof5g0Iiv6Ivx01ndFHeIKOgBCYUC1bEALyayE/RS7gYjZxC/Y0LwUBe0V9sTPdvoRvx1+dPbJ3QpsQc7kU5V9sQ8iKNyHcpFTsIarj3EmbDNY+r6TT/uFo2yT2SCsiF0yrGjuEYZahgomXTtzhznc3gHqkPawdXDkDrzza5Qb218QlOLIkxWicW3RdppZLIJhqNHLMuEcp0RuAwWhQe0bPIe1KWZP8T8TdEdAUssQcOZGvQ43tgy3//lrcApNy5Ua/JloZ65rlx2nzxVeF2Ut8D6j3Pau/zYpiFxS8RkFOiztWTCwFm3ITuVvTFgiRj064Q1/Cs+6Bzzr8HHO5Cy+98OeUVXPojzkq3rSc9ojB/v2Mar1uTdF1t6b1FSxMd1CY0QWJaYjAJ0C3iNsWGi8/COYvom9z+0jf/evDZoBg3jBmQFDO4ZwQBMZ9uES1wwg1pvcWohYwN9/1qKzp5XCkQ6fipk04B1X2fctKsooWv5kxLUNH25F8AQJhaj7bVbzjwCMNYvtpef5aTXl/RRldUyvR1/in6KMYihqscQppA6J+mu/u97sFtMmUuqk4dDxaSAIsx/bUayMkVbahZKxj18nsTs2dy1lDCJWIi3XNH6S56SAfCpj4vIcrmXf6XTmVVfdXYUKRsnXPwBMvuBfPoL3ZUDgVfcXx/KY19UWuWJhivTBmgGl8Hy9/TExbe9rt3QGliMga8NhaxO/et8fxQUgvJaM17uYhm78cdx1L6utqt1nwubNxvqrgU4/zxbmnJIinSNjZAbNzpcJkW6a1OU49jZmNk7sleKVoJJvoj1IgD/HrrNq4rUxmPeJBe/rLRva3WtdQUMgkQYq9RlF2dH+Iy4je+NYCbuUxVw4R3nCpk5n4m+bqZ39BV+ygrWw/b5XMjpEg7wLFSi6Y0Qdcv1WdOrNKcpiwTgoY274ZzlndDxEJgVwHkYd9KqtLScwIlJdXAAu4hCOQK8RN5Z8EKjM52FnU2SjfzjpctUrFEfOA5NbbtPAChIMe37GZreIbUDoRV2x+m7dh9Fa+fY5Wy0bJ4zvVfE6W6BRDRSecxNPUuZWzhymSOq5+dty4juwo7H6B6riACnJMKgGUVCnCpXkEEpBFGU1rDnE4bCU2+z9m+hbcwoNRH1n+IN7Tx8m3C004jQiAmgC8TvnO/DRzKOPHnlRaiiKxtk+F4qKvGD4H5NHXDf5RX9uWnQK8tXOHFxJfB0BsH0EFJ2tfREI0qUsr/SekrfstOFl6x6PKXXwRnUqnEjjvep8F20wFvj5KuWv3AE5recmryMRi5j/fz/gFE35glQ8nX7A2vnVtHMM+oKQ7fWVZCjEC7O7FFgytco7QiC8CSvMwAREX6QEUbZUYYY/GwXUTqFfAi42R84TXnvLkjNtdvWB90A80cr7Zripi0rgvvxAL/dr+yUsO1a5wWp2smhkJDkqVJkWxAUKwBia/4pZpTiISJf85edJMSow4aRPsPK3SGs+HySjxUkG5JDfK7+pgI/ZxlDDKl9MljQeBcwM1MXAucKucz3XvVB+IUu25hcqyfXHMky3z6YY2DTaXwBLziaXxN3lOvfsqkOOKdkAVQG3DHZtDo4zPJ261QwHc3jg1uNfvZDDGaa+dbDlFhUCsIiQTUufYIVWa0lFjwqqSvpERfSx6OfV93ZsNy54Kw9mXUsDyFD3VlgHu3YRpYvzNOdlInVMwG7jKu+ocgxGJBDDtTkElUsAeiE/wnBfZ+qxrdgB1GY9DhwWwy9drInMYspGloNUip9XMUHPbLfdRKP6dIHsMY688Kr9ilyZw8QCjYSPIICQSkbCFFijbxuVrB9wOKZ3DjEXuY6o3dGniio764n3NsKYfbcOMJTPtrn5OlY5hJ6S7S/xWiogqcdFKovN801fDVDGOTFWhLFGmSHveYYmdqnjIJkKnBudQCKaUfhSGuq3k355mlhJAB7gEPlEMzyJ0uSTnD10qtrBwumdXnEW+QVNuDn4+X/UABSbDAD1+x6etkJGsNbgdCUrr0pP+s25TjAmjWqCxeTK6dCdkCekootqTxc6w8UQq0+36z7MPwNtKuBtygevlt6ds7N2bT9ezg4LgOqeoEPcr5yx73K8rQH9U1/+LYXAW3ZbBbHXXZIYjVRbFkLzIdK3C8AfMetzK6TvT0CX5H8EEE4BHBD4Nrkv4NgkhsPvKso3eXdDIm8WmSMFVt9TRMzjKOo1NoXwYdaWvI/zOoRpIoq2D845CcUbB3n8qaWBbSUQ5vEiQCTEHntr94JJiE6O2ilUHibFmgpzaHRFxhKQRjCeIkcTRpuITrkO+XfgpAWwjtYR6haNk8zXxTvN9KMJRhSnOmD79/NFe/pgUb8802KtdChqTSSrsy26oenmqBVwNAJowzuTqpMSJ3Q8b9ZEVq5KnIsmewEXi3VDY+ENxjsNW7ft0kl//MyW1kVo57Hh/MdMrtdi0+I7HzzduDmccMutDqMFxGhsV4o1oPnZPY6WXfhR+SWkOYA1f5Q0vJnfhZ1updXZ7Mfc/iA1BoHZG1AQTJLo1mhvqLQ3SxnJv9r5zJhBwisAcxkSZBH0Xrc5GDOx+79dp89DuaOf/d7oHGsWMULMWmorbfKOANJWD+6106JSj6wawGfe01pDQtWe3ZR6G5psTIdwslgK/psO6DNJ40/U2FAFb2dRv068KJjczhWWczkGVPo2d8+EjbOneRmNqo+xQFNFJtJrbgw7aDyfAlxF7AbAMGFti2I/fDpG3NyTzQxl3109fnQ3Lk714p6QaaR6OBlOrp3iCEfWkXK2jBysl/nDRXW2+r7/qywdLtLHe3NiJRK5pjzgtiuVzSMEjdcJW3v0zqkhrruSwMx6jYCLU5weCx+0QMCwysNtMSHP5JsUPeo7HkMKN5T4m+c9bzyf4olnhF284WQXMmFYkeNPG9l6zW1i2GPltwiGRqefXc0DtiOKMFqqFDs4uZ9lUNJQsEHH5xF68WuDWiThzCIRZGD85anIf93fNnV296XFWoAfUpW4OinK9YkdivOX10/xhpalhMnNISolb4aaduxiq92SJqZikfL7xaBm7llCw4xT7B5ptmRu6HELfvtZbI6zhFdCT9tEoNPFWKcclJVxRlW918ydW69SWXiFfff8KMnNNU0RnJXlZSwd2xJRMcEn3qTRywkbFqX8QT74rsvdrrWKIPOguJvWx/96yxep1ghVeLCRENN5ABloxwpldqHHC0sY8YOUWfnk1u7BxGOUtJg7AkVVfFQVQ1dZqK+xc30W6f8ttixjRCCF4hpQKwazvTz+o1UCfBrzYtoOZ/R9jlURWe2mUPMWN4Q7/IPjhVJkRaYV59hHxGwr6EZvFc4knGQWfhv5V+0vFbkWKRtNLixiL6q9aogHDasUhgH2vdly87f8+MOZrdleVZVkDz8gmpi5lEUtuT3AQG4hQt/N5+wPdNGob3wMXLFiytDfYf9MKeryeb+omNPSSOsZUDIz5xXVdfAK1H+TWsHECtkp4eEEw+IWlP18mbLHtYlSQa4NzDzXiQ9NPP1UmolyWTYz7kE45uu8XpGUNLS+CbnMb24ajG1Ajp7EPfiIXffsdugd5pLF8X2RedKSZEMJFeG8uaVo6v/pMI9RXBErz47m/yUSoH2Bkk+As383FVhsaAMgot2i9sgAZMxWzplTAp9DAqwQ0hgSwJb/QPSWNgcAm9+cyJAqW7Br9qrOwtpH1jhmxr9QCfzUJQvhaC1ueCQIsm/bNIt40IQQlRMWIgYp3xjY/R6F1eLzwJn0agFPsoJK8F3EgoRfCclA9b0fm+sphPz5PupGf1LBhj9FRuTbVFLdTdn/L05BCsQ2GfhlLp1GjB4lY1ygUrKwbWn68WXdGdqcGVPZES3fJu18pLSC2fU5skafY2a9YnAfYxFzNV0FMAxqt/SivhVyKXmlwcjielsDHDJkpq1/RiRdI3vkwpvRgcFL6E5IzIwOdocT9sH2p03As+Gsaufl3LK9GpQ/IUeWB7PwduqXsU375//K0RIpdF1fWR31O07sEJQ3FI6TZFjsVWQsBssL6GAy6sgWCZkimByYPzuZQhG6corOLkvOpFXneLg7i3s/zBp5xo08625FK1LY536cxdgJgfoTwqADW0Y9LDL+vNLHpP7kzTS1KFUFM5ursk9pqBQWWvPaKmyBpsf+QKljaBbm+cY5+/1gxSFYaFmFzXhPfhEtauCGlO1F1/v3w3AbGIb2PnzLYOhgFPfeJujawW6CZqkGKdGEpuB7rKg/jyA3vIzZ5mHE+ZDG3EK1Y1GVVuiSDwmJsyP63TLo1DbYbQnmhsIs+ronp3Yg9TsjlOpVY/+mTKVuCX5nxhkaxOnrXVS73A7NC6wSKhrETNSNnWbC0A1SVSGPjSvaQuvecq6dJGIcW2Qb3GChNjSZCJLpjFhKJf+sf04In41cp6PLjvcyXWKagLPdItjjstZ913tntVoeMBfNNjVwQhpMKjHASPVnuvWB21F22jSz40i4cG+VH8Rt138+dubjif0P2M3kb/3yNhfJxJRQ+piDsrkHaMw3KT85tEA4acJZgVJmPuLCRpSpGwseBknjzvYyKalFJcMyDspGzLBT/1GQ9QAS77zJOeLXX1hVBed6kqXRLS7VrRpJoBvD5EEmAywJSq/pIJj5gUwHiEh/uooZYkbNMLKDha1fpcFO8KA/F6LtJEBgq960jVpEcDXKEeqvk1gMbHIjuZ+O9EbnJhrOHhRZUVuPac3DryqFjVeQYpzIG17SRbStkLqsM+7AAQwwKbUc5bnOu3wNrWgd5z+uOtxlH/9acM+ZWHYeUkZ8AoPKOJUOVqvazZkcf4/xhMA/LL0tSlGWsYD+c+o3FB3VfUBIMTmA2D2qw4YWaUdIXhR5tkZ5RcqxT8EIoXLKsOcFaC6jDKKAcuJJF476JkSv2wPieAlZ5bsF89YkSpkF1FGMmd4Ku+5GTCx8pD1oPcRdVbdC0UXC79C/itIxBFq5CeaMP4Y5GXmEdzRAmLIM8WO6sc3A9Tn2PZXFXotedigdeufuGlgrAGFlUGuemZXbwuPKaxM7bO8V/we/7M56XhqFzVv+MqVMdr0qAabdhFmhwtsg9Fs2Yj+k7ND5WqjQJN+3At5sUlF8wY0dY/gT05/brIi6QUh+iawfaMOcOBSbG48LGDMsGoRDSF1TrnlQEMdFiRwhFrVh74mjtDSdKWWhCNagDoM837S6JprgjMIlnz35YRaiVpq96C41USDWvoUjz+B036Qrg0E0MQBuaEGf+1i2dOCQwOm++22g2orEFBh7wVYXAVLYptOVBl0EjJtCcAZqmfBoEN3fpPvmhaaSEHUSLisg7wYS2wW+6VaLWvyAYM4v4/ujZJpbTNGms7XhNbLgFRawHUIM17P8AlztCv8jXgH1QOQyTyZrCSLuH0soLbn+HgU0BScU4qvp+8MVpjn2zuiQvtkwV+58S1EMoCePjocffDkveNySN0mYFYEmvMhnlxVRJ6xfp+tbA0JiT4V3p6ulzvxE2wbx3KWEHcIMI5VvOgDQisYunmv8g8kikWglQfcXpxr1KXmutMrqT8XanbixtVCvPHRp/Agrzqw45WOlwpfWGPGCuhXOErkvDANbnf4+fmSzf7JtefHzXq3vZdD8uxKIY2Xg86KSi+44Y31VJEHAbcOvUfOf2ZYHajjwJV40qD47/OHmqCrV3WFun8h1t7nZHk/KMq6C9aU/RBGbOm1IHEPLVl7miCkpJag5qRoDna0a5dFwTdYyyyqm3w4nFGpIAtJx9Z/kDMIGmFuJ8KmqJvtKiGtW4ATdmrAJ2BtfSc4Y4uXSJMTnyqodtNI8TSGo2YTzGlRB+5clogUa7FaXCBzhLPZlrmZvJZo4rFUyS2t1jPYeSe966yoEqeC+C6g8J+Cjk6krgsM2JRrKU/Exhbtj2oMiIWT5cm+3obW5dkmLze4tubrh4vGpFQ9dH73AJDAsHRlKOEfhladtcOX5YhO1mJMFUVLy2KbmYU30gA0hNqIDWFS9yNCudx4n/JmvcXsMvbQS6adPil0bDByFdvZwUKHlEFNGbtkPguoKPs75imQv6oSFOy1TIlhIpLDHtF6WxL+ZhY6SN4XxU+Lb9S0QgOW+G+sMUYOqv6EoHb8KdqhUgGo/cAzOXafFYSMDKn6pwYTwrr43d5zRlfI7A30TX3VgB8HzDmPiIL86Bxth2AiKXquZL8r5y9TWEV6jBjUOoTjzfl5UmKuXV7wTP9wZd7z523m4A1KnkM2jqBMX1hY7PKt1LEOembdwsaB4FqV63THahjCItobaJ8GO/7LXlmSuYLNbWwTTi9um9X5nNbjB8b2T85w9mepnRmLK8wO5BDIHSBKX9hGLETzvOb9ocYHZqFPriaQbG70j+IQgpISKMrpm5W5/y2Bfey4NA39UdzTJUrJC4sny/3McGrzbyr9GtqPKRZWArLB4QBtYcYX5ghFAziYemWIRyvjaGHSj8qj1PU2Dc6ipf8yyk0piRLpfIHnAf9InKvjTiaTmskLLj7/6ddQQ4pMiBaS1LeEOoSfBnrUPQIPMq7sCZVrERXx+wdhVgBllbbKHiez6h7jIBWJ4+c8N+8EBxRlV+dq1RXs2/Bv3HXZMLfGjSouHgnDNHG6wj/bU0H5UWzeuOYT/Zw76kbz4AJjcuStM8INUzdE67JpeMWBXQdXX9gE0M0zWY1J1u92xoXM7x0wxdwieycFE4ERzvDXPP4BM4qBkF3uzPY6XJaeTb38jb67vndiPOR8dPH8/wlIZi9W/U7opI7WYIG8yLyW8iyZCkJ1RDqqQnUZ70bYGiU2Fp9MdskhQP1EhCjOMWXzjkTqOz/DX30qdPSjArRd/IhjTlXV+1DjwUy+4hVkBK8FZjtz+Veo3X8iurUNZSFD7fJQOEGRnM3juOpdm+pzvFHV+9IpV4f8AT9itvaPuIYL6yKAlRBnXR9soEA8jLI97kJXFh82PGRV013gBKEsEpKh2o7TFOLYIE8uRqz+S4XnU1PXYfVNCGDyjz1hQSl9hltdI0b07YsIlzoMof3AnP0hdHn09u63WLWX1YY42LZ2shfislSQ1pufPuQa8hrC2dHv+Iu+zle4FDjevRbBZr+uoU1DyD0yxYjiig3aGjGTQogtBP8NNGL+aQZz6hp7u/OJI8jrJachSyE/O6KQRxp534Fyy9CBbmX7YhU75hgrkAQg8aJVMYspXdjPPjfHCHVV31bgeKC2EDims0hHy0SNmOp3EMR/vOPAN0gVonIO9jo3i1Q5u8cVgYKk45RrPWMvNZ5g3jtlStgx1rL9m5rmnkhdXi2iae79GmZ4WC9Eg1U34+WM2+xo85C9lJe54OyJFdFn5rw48NgXJVC9JXrW2CIF6ig5ZY1aXrhsTU9ibPdyeJGnxJC97VyjCQDdxmR2OFOtNOIzGnwa+6mTEW7GA8vH3YHaIIqmNB6qu/srGx29OoGew1qnjlQa6IDdBe5qT2KojU6zU9ImzsdmMdiIoic1abD/uuMPIsGBaHImutZXa6d5B54zBvvEJLVID4Palke3BxJCGzGGglQPOz1a0VX9zbKVxa8Ol8H+DnJFfJzfl2RAn9LuYe6nW8+eQemRP4SgzjYyn6RZU6JJfFLbpAtQdS1NdhqGLVFPt6/+CqaFv/jxJaXkZG2w4JHnqAKvLCBvjhAbk3JiinJHOb/olYVvEx/Rd4SDflE3+FOlSsbMmxgTW4+YkisZb0YWokrAOVva9FrHTxKBF0294gUxU2S112ZEcDXwryiZb4NCCAMjiiNQZZy8V4F4wHsHNdalT11C3qiPs6BTe+NuDZw+eiuck01RgptfQkoKfVa0NcajGRAWqs4EtcOJwikGaNgmA0wjB8SJU2tRPsr3plLAuvdN40Yyi/D6O5/wS3gA/6YiiYTLzAugIf1GVgutZQQZHvLl4hU6laSAHyOrii1g8DWzHFtEnRrCnCODQ/vYYBxO5qVxE39J07u/0S2s4/WBRGCbdwgcRISNN/OtDiArSZ7ZAYecAfaSX4/hw5OLmwYenQJGiCqYkXMpxpkglyYSDQnYzvhJ5bD7R28oTz5AK0vdJ1+IucHnWuCqhwySi+DpX9CGJSLS7JjQJbpPFaRiCjsKsxDsuxffyvrFmmQGrof83s3rS/B/rUAHhiF2bjlnx48qsuji6pYEOATqo5epbax6NNDPHQawqgsxgEOAqyORWoM84VjhrL5bZ9DAwvQVni9mPORayKysaZK3BPywSftigMgPcs4kFSBOi594sgWD/i7EcFjBcL5QGDg9PbuzEv/1RE5opYkWkqcT3xRuKQsdjUlQtf20NNrkDFElO/L6HHeS/3PehfX72U+cy2qA+TEH2D0pcENZut9bVHp1hpOm1PYrTJEKVuRX/BC7DV4v6HC3jiHc7IM6bESi5jn7By/6QH2D09y0+W5apWLLFbM8eDiLMBF72Bj2cX/8NrxeSo4UNqY/98Lv3sgDNDUm583bowdob2G2NbPclYIiZ3CQ8+CwVMThnTwimQmyfEfm0Fq60DIJWjaFDUOBFVZVlcyyD7PHPwuMGakTc3VDyqHTJUTh5mJ0MMxyY66m1mV9KkfeH8s8JxO2fEjIGgjqFFy4olx9XaG/3i4Y8HowGIGekjEIMUya3caXfnBF1xngb7uwO5rFwVKMeG6YtWly1/XonZREugxvIgxktm1eIlzVAVy1sAkVN38VjP1PdS00MDASWC9jS8nYskXrfhGv5e2cUSKjHnJSh0CZzsATgN5wNoINhsgAIIbYKEQb7Yz8KChj7yZqn/xCMzpe1DWGf5OedH8bZ+m4c+/HZhzpxmcXz4CuUHa6j+CigN6jTfOQ2uYuRSF9Hfxm80mUjjHoCXS04SvmclSGFQDwu0OI9RMHz/vsSieF3C+gWo+io1wj/5lYTVOX0dZ3Ku/5ORuzsjdv2zFJ/p6OdE9lRHES0cMCIh+PB9X4OeNg24LCnGEsnyBwfRr1vz3XMJzBsVoBDnR90lCM/Zou/WDVvfWiuUQKgwWbCQNhPZ8uPsGXsZ51RfaRcW7iTn8vD10Qy0xCnXuUmKHyLWSefeGkpl5H7BtGMGj2dtRq9RtJu84u//PUChWu4uHI7SfwVzloVd3LyirGNvjYN1jMu9pz7KJ39f0m63inTBy5vMw0kcMOs+dFVpiwhBCIQvDyu4E/U1gWSqG2ChhYJJcHY9Hw8LKF71U45x5W/H7z77QJSt5WxpFYEjZ+f3U3cpA91YcgTu3smHoEmiZTx9yLTypEAEdaj7kP3W19WZs5hFGcITsv27CUCz2A9iCxtC/fYZ3TT4VdP0snBto0MNikDVhOEmijfJX2Qp3YBI5PqvL4pOtBdrwrdaZKf4aq/MiRZ6rYMsO+8cKZVFfHS+8i0EweVaxMowN7sAkoKiHViL4Y74zcaTKtDdC8tfiww/S4iKv+7PYJvFQhsw4a8qTfQVQhbLnis/GC0XnNrHRdg9+PVFKWKkX5txcaDU/UYGWbGA8lOqfI6aJzV9YVZRfuTiUZfMheMAX0ZtvWKrxIRgWwwDKsu7YpUau7yfpnx17qrJLfWLWT044rRnBWm2eKAv94+45DJN4NMMEZLwcg76DmF72OjBt3F3p/teD4W0aDWNphLtnyFzLVffrj/hy36BKVu30MkWH3uuCn1bcZXCrkaD4LHY2tfuWKy9brknPKeylwoCv99xbO/f0AKBsBEYaY6aWyBt6y64VzGclvgD/uaAVw41Gs9fqy8kUDjdQgj/CiwFm8AaZsQK9nRCJlbeGMrTIWeDU4MZjv69E6Q3AdMoBiqb0LpumtuL1vSUm+wZNjwhIX+HzcaL2NRJe+g+ZCBU9BUHYvSW0GFAuFCLudcBe9uc+Ebv9EWD23CESApXqEX+wwHMGfRZ8fEiUmDjca5I421jfWqNFfMdJ4S+NNS9dNvYSBVOfKhjGj6DaNSKa4ypSN3Ujw0PaKOovByieVPQZxdmu8c9hVp4KoRJMCZ8KvUW5QFK6YsgH++aayGX/5o3m/Ciu9XJqK7aDkI2a3LssV9qoUajXv6QQxEWO2vd4UORq4M9my9a7LJrux7/eUDvXLxLHdU1vhpFtsz8bSrRUXbwC7tyIovpr9PnohD0/aZRktvEvHGKDrom8y+DFhx5F556BNP9I4ubupCMca8XbTAW+tjY85aBG9YZnPn/LCOENHIo4QGUD9h4xtMAq0ITVhSy78pPYkjFVwUu/FFRAVlguLrePqYTsfA3OqJy3sL4K2EkaL7YhwCriDnGwjzqfJpCXnNASr4PXOlIVHkQngiKjv18qTn9glY8dkowAHOzMZ8CFc/y+MXCk09pGRzz/kl1g70s2xjAcqX56ri7Y2+1xfhMiWSJtRPaI6MehVnsvoQGRwdJu5sh/RQXbdJAhe2kDMJKqE/tkve4ijkBoPl9nCFwvbw8nmaWj0pRiPvrZIn91Pa9d11YnXjO20NTOETcYz2pFG00A2ywS4D+dOCeXNFIubAaHWePsvm8PJzNxqRE0jK8gMvKk4QllpAFT6AlZ7LiSF3UcG1tCeiO3pkKC+fLiglTD8uzgI8Wk+pwgTWK3Whg8ljKoXZruD+31zTGOKuYLiV4pX75cj15I27toWB6kiPboGkcjxAwDCy2Bvn7xWJvalrhPjpySqjjdm21c4Qxp9S2VnYb4AFBURy2Qn1OsqnG3SKnHZpFp4aBQgIhDTCtoQLe65mOzycSDBJnfbvx9XKkaYEq7b+D/wbd9GovoEjlZQOLmVcs6UpCLfZxcpKsiJWr55YjjQeMpSIpJu1ougdeA29bYqPW7Zdy8UzbBeTcKV3xSM8O8MY0aSY6HNbK9Iri8W+Ibt71gKAN5DoQw7zrLo5eQMiZg6q1JSCoA/qRQxXqfqCbdlhK5DyXJJ0Ew4HReA0SGNu8FtFxMOCEndH7BdOjBYP+r2eGdHyfBWogXUIBP7WVb4DqOFLFbTt/G6th34YyLOd+PjUWskas9k5SZ/mEOG6oh0L3HmxRZo8C3FejIELpJ8THpCKDPJFvlofrOf9bC6hshHyKvxLQwAv1axEeCuIaCPyNxvceoz+MVCUerfK/Bqd06L5cF6ME3z/IpMwVaze0lbB3h+PPRybXYh0OPyVoiKVKgNYMaIS89ErjvR6i/xGnKmRBbzNZ0RW2hxkh8H8F3/sll1GqQnt11bx/0kbAOLRZOf+Y+8T8jIBQ9TpXJZF4Gk0SVywfpsB2Ljio9Sh5bxNHr4pL9pTmNSbQiRk3M4kVTu5pCO8KdNHYmRxt0dO/nMwZViVO4LI0vWpNpPPJOcEBRmj3leVG+lTXnforpvlu1cjBGKzU4mX5PwczMdwm1Lrn2H2cXFd5bvY+FPRv7rYnYcCgyLqCOvfc5RPbq773F+5Zo4XIhUF75Kmd33wPSDyg4PxMsjGB9X0hcq9tpQ+mPaVqqpoCMkb9ksqULxilzWUsVxeARiB6QIDQ6QYlFmeFIzHCxbMIFO9ZNaw8wi6mUr13/tm5lznmg0CaDMuOh6ur/fIn7+4VPLAOIAnarp76gbvlsTG2CBYQT2MBNLVznd/rmnW+WMSUXoyxdK+9Nuss0ySvOqhMICJoVJRuQ6Qs4sMK9SAip3yeoEFkRUfaB/wYxnK67gQeQL6/rgmofk6skW3uCtuuOktQL3812Ie/GsFUAt9QniK7RitvfZWKhUmTZIznoC1q52+pQBxDEtDOEjCS+toJkZRZVQJaQZBSjs6d9K30OAe2LGvXvZx5+iMLctauEZsI2zMwHMDa6MPpYDGBEm45zJktsIYsS7PSLxDAhUbXy5PP8pagBizsMRszUONiuD7GMqK5QzuKrq3lm575dgc3Rl87uScqXrIKZtn06nAzb4nadfarIBJZF/1WcVmyNbN/n+rObZdkjBDSOT1D0Gbn5UrXXqwsz5JD764Rdz/weJi9a7yMWNpdKwJA4iu7j5BLXl8i/mBz7OFu3SQOZAI20JFeGff1QEZKO2J6Q9KDsAKqnwJh86wkt7Mwk1f8EQ0+DxVxsef7uNfCo94Rn9D8XkFRJM8vZfRSnQ2UBRHoLWvq6ngD4eF7prAHgj8XVFZQ2XOhFABVoX8tbNfCtwZiBN+IcBRybV0gyNMGN4mvTfwgexHV5V7xUoZ06deYCI3QKdX7efdE6janLzjLxA8yZuAFwfmyG4Ho8YLFKewr46371PskPM81+rR7oChovXoshGjDZBowCfk33MUPfdlzhmun0o3UlN+9VSEzYqyfL9P0okzCMEXajfUY7j3/ciB+7j59EoB/0RmnjuZ+2WO86xODu38ji+vv3w8bVpuoXWRyiCEw4k54rumurvqlr4S7bBicMy4B5dNHqWDYuPA/z0KvwNV3K+LVGFUWrY4sh/FgQpUY9ds41+UgMj43aZ5IrNJHMieoOjAs0AB+QaWOv1PFIm7qz++cpGHIJOcR71cnn2xW6lGhEm2xdoY9lPPX/VpPMyXrx3f9FSktwhvnzIYh1rFhB8DZnboEBWKhmBFXC+uPOWkIM6WE43GabKESlAOPk42iUJcjYKX36n0z2exmaawbZF392/3WLvwiGbZOYxWoyxPU55LdJsru1G0cdDjEzIaiP6JW+ntejIeMXD0uhHhr/J+rWq0hDoc/ATkgDDwza4rZvZtN1xn0pAqkvT2t8HQfQq0+7D34vf+S0GCJfK7oYyPG2PWZlnSH7xvY5e9apSPyhqDLNtXWpduzM1+B0RHB6nbKV6IKnW+fetPUJcN3g0XQtyhiAd163ECR8/8yitaiqdsifoio4OvkS4qIO5vpcdGrlJEcYjHHUqIm7ON8+hqzCzCnuqddZ8DqtnaTh1Nt00/oTpLYjh0O1/GSB+27d7+JNox0KGnoOQZ/Jbwto+Yw3fBqGk5XzSYhUYKscsppEzKmIsVvQ8NBA6ONtvN2rEP1Nhox9HM8xVKP1W694dl6kq6CrKvNjVI2FzNcD1ZcIPSw2QtOJjdACuAHSDBMVRjlF+TkE8XLbqGtjFaHVhGQCFK6Nhndb6N5fPetOHq/+y+xz0bipoMAj0Th3kDIt7RdO+0b6JC9qlJUsZJ9OHfPm1PdA+e0UqbmFceQOuncKAExbhJSZ/PwyYvCJ6BPEM5IXcqcyTD+57ONELQqGgWQ5vvVLulAtTLRWaZI1YM14r16uo4j6maWrGPKEHzCDKF+PI7d3vNZQdU1kjUhnsXdv4doUGNJiTKndncdbL7KbrGttKZ6B7tfKv3nc5YzWebOcLRQmzw0qqMr7SJlyBqkJDW6XT+W417DS3VuU7xk3uCImKgEZ64jPMeDYvFuPAkQgz0hWnipVM3Hh8noiyNNcYZa2tEiEHnqEbXe23EqDx7gB8fvzSuyMfp4+/dmJ8QuIM/ygFdALJ25R2pMK+UZEawqaHotRJ7SPGcU+FczSV0wN5c0F5wc8M8a2OjTRHUmnSobWzzMjD2xLV4WFbs6PRHjhbsqrOGNOznGRFaZoYYjNhW023naiSMWPkIhpXwpI2Dn4dLSZFcrylzHIXXVOxuz9EdM7tUoSd6TQEAN/U+sWvwkzmxBMCPaezX1X3pGTG3ElQHBasup0mrM7BH8DRkWsLdwkm4jNxr2K9luCQ97G/POtyyyJPdZNi20XETHxvkICCSTElQEzP6V49X2KO3IQqTKnBa1QE0giwQPzvcHbUflDLcVF2FwA+QG9KHK+xrHvHLfZL9C5Z/8aubo3Zizf0FkK7Fyofk0Scpz6jFWe3URqJACC4wVyfu6vvORNSsz/6fsf/9Cv3aYmfG5r3A3dpUVtpqUgMPg+DzvKkx2jwEwafMNFHShzLpSye5EDM1JmNE+L+fqRa3tlxb1FOjDe2FOc3xkyeLYpWGLugBt/2KIBrGofm4ahNv4ZLlX4JUbgQFj3TAK4SsP6t5rAMl7aSXyY3krgbivq04k0HKf0xNtDHUVUdHUdkndezEKK0pSLZR0u9yPKtPDfN8JgHQbPUnn3aNdIC6erbHBuNb3H9BwDXjcbhm01BdLDfeE5U0XG49mIkukZyhejKGAuTkPtEwRkUsH0zVw4eSWVetBagmLxN5rHJWM2XB77O3wSvrnPpvsI7zFaBOxqeJscR2HhevgI3Wm4oPx3zjbiECTFcNQe3faN3WqN3Txf6Shq3VmTTFMRYmO6/pyynGPIHv/e4gfdoNTaEO98gcS2RAXBpsrEuR1ALR2UDS9TmIJ3lneqT+pMhmx+2v22Sbe/8igkfklJaNAonrydXjg7/xBEoTSup0srPtH+PdcS0/qxYd4NvRSi5a+/KA6ZOP4Fg/ZBc2QKQs9i1796HGx1/MrMNGvkRaRdJapu+sWwIDtaApHg3bdgo5muuqyLfr0TCltMqHWz5O4HivitZwLPXnyjM33uFZYcZs3BZZcryIvqPZlmNdcg77uBG309qEfoNiF0mMPfJlyCkvMLk+uwDHUyZg5VnL981RalneFLkpgTW5+/LFwAgn79Jt5MNBjur3TXr4xrS5p7lLzrKT3xwkc8WuJ9OE6m2KFmMRhWBAXTqV6bzB2UbiGV0cyhhFUOOan5RT9nGsr72OTRuCwLTVm6r4PRXMra5FLGpBH+LHpY0JOv/Ka9KppZJH702BXVLViCb3hb7GYv5FgFsPOA6gBdCYCLLKWHE0c83h33vAaNlDLatKaaV/Vz13Tb7MDjdK/moBZDCwh00IDK31A1OsMYqsRlsEjB/ewj/r9AprpzuWfIaRI2QLqZ33JwlfriB4c5aCePapBUIm8jQP5q3xtGwnIg6HewVy8qyQ2GqhdhbTfwmSuVwTE5CI7raNSHWcWltK82xLb292iRmNIsNbOZO4ejeWaLkYhJMsL7rcv4iCBMMIHTPpv9B51eTOLf9yci9Utr8AeXa1RumAhooFEhq7L31qKGpVAF2yDLjuCvgLeRljCN/b4j1NPewtCZKHaDbg3Q63rICyJUfB5ti2ddDIk6DbwdNYFmoJChyVjUW+RxOZSjw1zlRAYWNbtRLEke36mLioMNpvkChWLiERHTjM6NoFcQ7Tv3F87c7hu8enGY3z5owmU9/cMWFnr4zXElL5I9K7pjvDr+nl7jpHndAwNaK35DVsczyHW28E92ku2px/UE6pJUIa6HcHUPnzs7qzWdwdLagPJNRe1fFsEyqoAPlhSyiSeadVXBE0MIcyrZRNtZXl0nRESlPutHhQaOieeNTMskGf5FOVi2gjf7l1KL9/I5v5IiNlzhTN7xPU8RkDGboWCPhMeC5Yg8E0m2qWK1ouPdDnoY08NREhS/Sv3e1CGZs5DSvhV069INblOwtYNHhU77pnwqmz+pppVj8/8DXJQ85jsEurJxTY+wnDT/9RzeyDbx3bAire8G9gcZrCd5oHN1VYFWEsgj3DgM/ZCfFqzzQVWXKMZzjAOAPviqHuDMAIRzjm8Mxot3bmPsC5Th+MhgpdmLHCIX/7OU0Ii8cHLJ6MHmWh5v4STscTFdMAal4EGWoJrC2NY6GToSCYP3SVfKR6IUyBB9ebZdTBAkfyqWe9M5aLvUZg+xfT1DHhCnFhSANTxmanCiJeH83uD+jCAFK6m3B4M8zHXAjF/jFOkpW+ci78uNNjGuE9qUVQ/qeS7I6SRAoxcrToe1pPWH59uKn9EWWIBoRVpSrvQyYKKlk0XEbVGsuGG0GVPrGGlv5Fs7MbK2+E0gvrlZ5otflDx3kcNqT7HfDIKC8Q02FHd0py1aHClxsViN5MfZOOPcZnXTO5ckrYgaNSgrDDwCoguyX59t80fHCJPyBQCmzOHjWTEB6mboTu4GymRb8lZBIxJbdQ2cBmOgfngZgIuybEuX3GljoDy9ysUbojskVOC0ca+Ob71sd9tgSXJ8LOODIiBpJwLEugVnXidECa2qqCr0nH1zdSCLH9G+f36GKGj7+PZMlSngtHS57g9NMdKQ8rDjRDScSlcM0B9ttl68CBph0GXsfSxoQCcIhVY997r2eCydQ7/Mt3NiASOjywkjJB90iY2PgcKvPRs8pKC4nVT0ql/mLnUVqW0OLDKifXmzD1r0dykEjf9xHFce5fomK2GRSKvpwJVhzx7xKpKzVga++fwPJqe1wBwjJY6J71gvrEe8LTVDvfVeELo5/ylpU4/tIJFJdoZEmmeREBO3a/gOLWOA6YHnq7skpMFYyhRrV8EthCyDIYhFcPsAwvbZLbv8IEvA+OXA3+zXe6yjeUDPj2LPZYiW0IbGNZGSj7iGM8UZuFGbpjgwa3LX8YDpgg93XxoCKMJ6UsB2AK+T7/Pek8b5X5HaA54IdiBx/RqqAWWI6YV+CTeMvghw8rS8VDT6shvshNT2lqvA5L61j1MoGEu/2hfgQEBQ3ZwRkAb9liBNrW74Sbu8tiK1xQ3oQm/VMAozsulQLJdGosNWAQX5qbea6Bjm5C3BMV3p0Q3oQPwgbEKLFyNjuov/hYv/HVahBFmUZBt9VskqgnzSYMINnKGtLTeoHsZsZipgiewLq8O1Rex0IFXNcqpIvEyKFt2apUOOjFKFXYcXAtumt80HI1/UaBV92Se8G780vUbcc/JXo/cSO/bWURrChW0016DPKBnYvrDVo7Ywfe+cCii6v1VQ9EOuGVJf43sTkjTdN/5/oXBtwuSNcCPxUO78xqERuEF5KZEw6JbSSiXkN6czK7HTNLwDXnTBFMXZL1lXf+Ml0ALnjp/m3UJ/5WjW4YPrZdvFewYCLjXLTG6bJm7t26KOOePHzRbtie1L57Jh7dyDJNOMv3KGid0k48D4wChSmKOVMS6UC8qw8NMLa7O294XT2mixxM8ucKdpgcRK5TJ8dQe8mIBq5yd6UCsnPhVG1cpXZvkEIhzdaPKs4CiVFZrwMI90MFoUu0avOxiBZdM7ohbdHKSFLw6sAzyGIAT654m3JUbA7s1EYPOKb5IFfx0GrUAEt5eo9zkxVYBCgArX54vVz8o5ZzFDM0jkEiHyb4girq+SGD8OPKmIQjdLSFgIJl+XOOAdO3I5tRuCfVFTBd+tw4ju5MDde2VncpsK+hu6EehqUzr8QjFQ74V2Zde3ToznxiA73FbbhbEyWRZBRtuFtXv6bEGI5/edW+zab8ZRjXj3kDhrHjveTOcJbEZajunsJNwv+ZBecXpS4/oLwFlUbMYYeqQX7StSDYfPfGg4i3iDt/7Nnw5wBK5lrEYsckKDjVXcV7vIX4g6UGuCo5HB62jnNz9Bliyb2p7hndYvRxLK38GQhbOxCL3ZszqpNdecRdqCDHP5YgQqFrEIY66lTQ7vCSTBcx+GvujiwOefgu85YIMGBWJeZQRMUYIQ8yMphPvSFmSPFA30MnpFK+Lkub20fOy/bjcaTt82EaUwKKuOhTgXhSc8hD2ZYB13tMpE2MUUD5PxXehCw+1C01jw+oliSk5JoT2E9hthMpp7oZucVOZHsd5AsmJPv+EQHS88+sM9j6qdAMO50FIyp6/07c8yrWsrtzM222OqEmkB1i4B6k9K8LkCS87IQxIaS7F1fVrx57Fmax+rgwQF+MaJZWVUMKjSN4JkFqkZAareBPHxi67KC8HDoogYVItkor6XtyyfJjr2CVTBvt+bZkU1PExQdMQzDAyubbtHNep5nlxJxfzvyvZ28V7ZXWZ5v2yRBVWYDH2IdrWrMkg4dU0RhgSbH8sZ15cBCilsQTXLrGQo2kHIDoz23/2EwiSzRdP4r+0TKjg2Rqv+JquC3ijxoxW9ckYEIe9FZanpQ6y4lbBWEVmlSZsKzTyhMa7uVUqTrRIlucSZ/mwapg/H6dja0opYifjnNV8CORW2BU3Mp+/jMWhiVoT20qonpUQYEj/nqldVv1gUSpu/mVnGjUgcAnuBwGhSGQUef/Rb1yJL/9y6uEKO9cg+XCapIirbnJ67qV1dhQHtULvTnIc7B39aPSYc30l6sc1/VY/9U3Ik5puzDkY0ZXY0dktQfthURNwNq/G/y9LcQhUTajMokcUiXv3E7Hfak3hg1yqEECjx3c3YbVUVxCajL+drcaZPo9Q02/YWcFtWg95XC7D3Y4xXiOwvyAKORgs6MX7I3FGW9RN5gfsmPXwOcI+owsHR9CyGswIbOm3kSO8pWm2hLMa/L0e+9dN+OSwGJe9Gj7r1CVkqNT9WF/p4Wcx/+sqKD36vSwxtWgWv+nnDDviQj1P9UZtB/IIWnxLRcLWy9zi0ic9kapo3rzDQ2tM2voW3hqdJCJ3oFfYaKdTQ69vJpL/q8hfVcS9uJzvr3/J52szMwqCgO4WVUZBGfBjQAgqqXo8oYVEvAYiyVrXAMqEo9NKzuEg5CBNBT6pw3Q+h4+QyAPhbI8gGBc4TQONqXwA5hLD95+jc1jt1D4TtWvT3TRreaQgODU4zkmSve2310A7WEmts7PUkFqaUMqg/Yxl9xn4YR4FbSG2jKTsfC8gh0jsiU+TALMG9vPnB9jhZJAwEmZqemWi/6AXAW6H9C25aFS1Q2LagQ8k3eFHRc1JSAMA8uCUm1qxi5IFgXY0AfBbo4xtZKdzk3EpLSYlUuiovpIoHNYHi8ObCHWdG0v0+4+LPBBtwVDTuIj8+PfkgQY6DI38/wgTU/uvp8UenFNVT4jU01B3F80uk06rm9OJXRu4AAKZ4BELTJl70PAIGQOgEMRGFKJTaoXL6xyFdZ62zbMAbZG+6ufER/bLpJjwNxBYiG64+735Nonr3fxtYR8LJvUzzxEuii4QxCxFtj29RcALWmGTm6Uab0ygbAuJBcb3Oy688lF3s7clo7uSQxlZb8n/rt2LN4Y7FswOH6HX2sEcyLVqJvLpzreeTgZbSj/mR7xKbsWJbgPwcobFSc3G2dEQLwfUt53EsocLi5qWPDPyPX6f3vlN3TKdsZVwwg9QzOAKW6jG3ECxBt2YQu9Sy8JOEOmU1+UfBF64ICd+qFPuXuYNpXzjebwHVjfwePSQwwUZkZW+LCnXAmEKslefOWaKOo/YKmt2BX94h6IbleVSTTYpGSBKTrc3HN3q+syikkSYX6bOmP3JFJW5Sr0OpTRvXX6vCjoh5S0bTs5KahnwxPKzTpfByS+Y08Gn8zVENcGTFPHv4ZZ/qonE1RtFFs/a8WB+X3aE1zhgRvT0ax1LUKnDT0RdaPrb0Gt6NiD62aIxCV1LwyPVkjz8oJDyiimzUyMtvfZk2Y1ge5QXbVFbHcvbHl6XR80vRUH4nkTVELje3MEi9lApOaTdgG4Aj5YUCjFSQVrsBQKgotxwNh2qFXl3JjpA18TNRE1sTgj5w5T9s2k2Ujw6FA7fC5xdNp6Mddkr7N/fe2KL/NIyOvKcBQ4Ix3prgc+UrdG1/Wm4tsbSgziL37O/OKbuoW1FvKL4PKQrQJPCDPHNvwbikBPxjgtU9H+8+Qk7ne4FLzzPRUYP8LtHsz6AZjWtSZrS6Kjt0lrdf5yuaLYM14xTXcL7ejiMwupbWAe+YwpLGBzMzsQw5imgHK2kXcyIj1hqPgYoIpm6avwjP0HBG/g0s1TyHwpHDvTf9NDdZ6L5YAJ5vk/XClXDW9RfizMJPj5Ljjl3iHji1FIo7iGeuIxr44EqtLe8uhgK/nJsaxrZL0rkiar1eyQQp4Sfmrrgp70j8RI3eJrUMG2UyIhcdRXEKtoa806ZFeOvz1sRRGK9qeKB7YX/JzPjy2yCFQTnsxZQELaKBOkB4p7ofn7kgstAgHQFYoBSz2FifgNdaXJhlb1Iy393Ph/TInK2mk+h8TlPDSgYT/BiseqslAkUAffsJ8qarUClsQWjABnAf/skKfW1v0yZVP6SPJ26Edp66C5vUB3Of4b0BjbBIhkqRXIvDQepRyCro8zjy8ndHRmyARc7wFi/hXv/4gZUb0mzlS2g5XPlEgyF58MH5MtYt/798ednVzGZnTCyJkponCwB8xNa6roLvZGUY6cSGNax51nsMyn/KkfVzRJZKOkl7XaU2uJFOqUOr9e10/FFfwt3uXYgkR0sNcsh7kHD3xAKD6RVgB2T9e4HMRh71x1EnENGkcSgLcfXuL0CAqPPXWQw4DId9Pe2mTRCf205K7VrUpYiT6B/Lx9x36SNN/GWldYfSgOOAb4L90//TOsi1ULUxdB7B9nS4CjKmCrjss2+IBO5QMScPK6mr+COLcFiEpM1gskBzr40JhH+vGtlIQp5TjHryAs5xdfzt5Dg9zEqvH2tQuDCfWwRbM6RmCN7cQv/7xpIomwflIQ5sxZI5HhDrPTSsQIYZaAFhPLkKfq/NJX9lKCeB1OsSIyYOO+FVpChlWWdA/Hsp+FBqcJLlY78hrBkdfYA8MwNQ+QhVpxSwlOhRdbOSfbWgcm8t9BMZJgyX/eZvBCk2dT5s0nxL+EyquMjQyQw+wRntgJJMAiwmorbQ6BMVHkDkjAZ0aj2y8LWZWZF3SLUPAC4enwlbTGlBagH+8D/Z9nxOCpCE8y0l8P/uygl+8P+U9eaim+ywsgo8NItVBiHePWvaxIEDSv7cfoP6WXqJnIBgjikh0baskHx3OHbQp/J8CWZn/bZXvbWqmhqm5MLWfv+XGd5BbiFkvtrM9gOgbQZPBX9btOR/+eyiLz7CMdqg68gqmP25tY42sDqreF1HdAaJP/FRI0wqFJ+M8LGpKAdo+DPyPjSeQTaG8pa3b8Bk0m68SAu88K2LtKCpRDAuNL4HA+xqXx1FXc9Wb/ikY8VeRCe/uhXFR/qU1xITCMI9BmzUGBsxNvZ/xotyEKU7U1jLNjYa7Zll0maU9OINUvj3Akv8dRA+uDJHMyFa6NFHUAcTN1PnAPY/m5qcjT29WtsVdGU+6ZfPDUsDz7U2ewfTD8mXr0F7cny5ZqG9x2YDyT9DV8cGS6aMDVB0y2hxrl+sCeH5EJJBuicDKe2Qd00xEPALOtG9GwaJKqhwCqqUtGNa72WKlkAtAb8guFIgDEFHrCgFQCVfbYoCUwd8YbMRwwMhlrkHdEGdOXEJTT39M7+dfP14S7hlQvS7OOJejlBCbFsX5NWvelxKZpj7bxvpT+NWrGHzl06JrlstCuv0WKuESRi+WGMBSuAHjtax7jTA2uYfGWLUOFyWX05jHuy6vAmZ8TIU7Gpby7J8460Juz0bYqIzi4vswKuTDLrIuDQbY1xMZw+ebIQmdPVWRcxvV/K32uvLv1/uwk1LcfDat3b9Qztblmog4c8yJMjufU0YSkvl1dPdgag4o+h7Mdd4qL8K8g+2mHTVE+SG9lz9kPjI5nKpLTGnWmsSsYK5VXHJdSg/9iqxjawEtdoKs+Mov1QQHZS+jiaFj7Xta+8T5FnVvKlUVG4c3CxHEIh2TUJb61uejf4rrUxN88EkFtgpAxoEddMid3gx1ZXny16n8mwNsz1sOI+xcwvGThjYcR7xciT6T/1CuJ0A98LA8VHCjWFkfgb1iOlTrozsqCcpo212/hjqYXDCW8Myo6ACzozKas2LEJKtPIdRgjxBs+ptPcK5a+0j6YV98AFxF03lZOsvuLuGPFYbwInMTG4trtdzErvmhmxR3JZWIt7YjTP65U16xCTXC8Umu4EeISzQMbBgQeHq9sgpnaUpr+9Qgb+vrpOY50Q1aeA4MqMdm5TeBqr4WdbqbGmnUIewcDB1Z9UyWrIUQOehsZMWyvd8qffeddsn0G5hzgLfXLp773fzKLnK6lKtLstkCIAK2FOLllTS1bNKvc+GnjYiG/r/ILLJdndWQKX/fstQlLBnj33AAgqenNImkTEUM+p5eGbwOBQ5pf5moT2m5dm2FvEYj7EDekQjLQQRu+lNFxI7oI4/pskvgpU01pfAi0kFPx3BgAu4WnIc0hYUOSND1eFh0RBv92P5FO+6752FTQVJ+2hZUaSpjOnveOadij6yfn5U2ZJQchJRbQFji/SlSkbZc0wz7oOoRKeUaQwbZGIJc/jvSIcWUuAwCWAjDtoETrmN68n+h4flk2m/ArlbPnI4x0cesHTAl2JDZlAgfc2BskFuQdau1gB3Otf9i+1ylfY6jtp2G8bRhEjY4L4ahL/VsWf1u+4XOagMW/x9q+6BCrMgEtZtb+gb3EgaFwW37xFqr3zUj8NmW/tQglaVxYeldGPWcoCFcn9Tl3Y34YXoSlWgCWqQPGloPB2azU1ZAl9F1Gh6NZ90saNGw/eRuJoOVB5zRQ8mQ+QIindrii17EpNVDq/zwRpiDCOIgkEeUWUmLTz9AECW6t1j3Pki/LHiPV/4bGpTVVN304kOTzVV/XRwOsJiEpuU14uS36cDyrHusxU5JMZ90dY15vxNRvpFqC7WRtqAixJ9m22Df6XBb3fGR6kJGOpO32tTcU3SbBiOhdE3NnSlL1JMLeyvG2T6TANCkc4X58vghy3R5/z19axQshsPjSlVGB3L5rkuoalCI6dsgyfQ2a5t6Vjg/4fjHp6X+mZ3uz6sf2E5lJrhXgGn39sNR5bqtOMfEHGaD0WXco7L7V9P+CEcz1MkQtzaKK2P3898aqKSlftp2ouqD3myT5IS4JWwhM8r2drpMFctrDrKq2T8OzXa/vKtCstfkQN8kR7Z/1KP1X+pwkGM8Uqwyx14Wis48Irgqjs1CLpdxoO4NsJUcDwR/vWQsBCSyBNMf7GNFk/FhAliyZFeWwvj3NTbMV0VjgaWou5CcFzQCVZ927bwGS6xQH0Oo4PutzuS2Sw+M4CA/U7HEdUyLIHv2BAU8FMtRLHIzuZn9KB8JdWdj63OxnU1xbGmTP+WiZyEbIcJP2F/2rRVSq0VFM25Y7KGxWvgH1GgQZD6E3IXislFiZJZDIoCC71XplzeirmolTAlyvWC3iheW5K1KaCGa+QhFUzzUcbc5+hCmZZSmxtp/iQvJYfV5/BbKZrsc2P1wwl6rW28UeBLQk67WhbV9tTc5XmWXJxcP5ZKvbnZ7NRgwW9qFXD/0hDULkqN1oydzbUmpka+I3i1cmkoELVdmFMpogpMfBjo1CGEmZzOSOODB6wPLg7ereuXt1zAdAfwmV423fCfE1/qwU6o3ExuVAuuW2qxQJ59F9m/hVqYq+7mVf+C/U2xw+GGrbOpdehtd2hqs1nwV1ZXjZNG4lZ0imxywM3ColSV5KCsjtVHfTS9lVmzWBVYb/2bljsx6MjUCDtVn9p7jzntbMKaTJowJcGVbL0jsGq5nJTL0gmRDCyIBTsSM5+LrhjPiOPwMIVAjWVg5WLCpZc5PB+S/Vt4xLCODp8Ia60DH3qHas/WVFLM2FlypTy8BbzsMSGcmOSxri0RVgC7Iogd9i4hiG3HcnMNGMPnqeKgdrVZwYOMipKdQjj3c60yVGjpd8fcyRBLZN/4EW7GiR+IHLh+Wlm/uOBN3q/cyGWLs8PzC1i1ayWP6aYhI3w1tGmnKTTfG/dPvgE8qJja/8TsTSI36LjzrHx82SgOE6BTldxeCW5a4UITmzzKwhMxz1QXgym+beECT21/QVrfDZSwBcK5801fhWX4dBuKcxkrGv9/YVtJpt5EAocM43VOyr3/cRvQQjSNjsLUtPKDWoGfRwX20HTNtJJO9tZl1wFo98jqt5ERwtTDPDNuUqNGdHxAROt/FMWo+aepgWM9I9lD04sz7gaYcC9g8nOA0MHRL9AkiGon9zW4AN7EjZ3ZQWLmo3vSHEt4L1guOyELNCR3/ThoktB1femahP4Nx7UPMAgKm4itJOY0jcUBfZuzyuXYPBOat8s6DQFaOP5kd5Sly90eOwDNEN2Q1xXMVDMIveW0XCOubmO6PwsyninBpEkegEh4WQUGrGxWz0pOFpB2FbXxDlSqhpND1FkETfpgoYc3w3ZelTmpBCKSZEOH1ko9fQMreqo7UMXTMfynW509Z293W6n+/S7E58Pu0mfJF0nnYGU3JBxBf3Kaiehitg4p6JWsL6l5EoQfJO9pjLh6wVaQI0m1AobqnZI3BUo7qkJ3q/oAH82MWHb4W9TGIDOd/fYYBNiS9A/mVbbYM9iJlZZxzqBCEHwv17IrLUBEZGj4LipJxF5bnQ7+xjUjthp+F8cpNCUmnARMbFKveJLdlfiZP3gLsNGDHPZJc6xECETlcPnzRXt0AWCGk/ckq/A78qxWJFXibqfNFHlZKn3iHb9vGeuQANtBCQdKvT0AOx6b6WzXh/GG+Bh8F/EQmz/QS0r/uDyBxpLnTt0H4u6JnDhOxvUa0wKJvvXuokGGT3AC/26rWMwa7rl2KsNgQkrWwVSwVnZ7lHxBZqi0R969+2S17906kPPwfcPP4wRRMNs7wTDtUYKW11aM+LnUnW1eKpMNDpvHfw0iAhbsPBshEUVojnL/eQ0myrfgFJBmb4y0Uyf/JSKwNAQw5w7N9rh3t+n08M2RIWyW30NJ/Bp4JMiQ5XRDEpa4ryHWF8pucdGva0lqkCtgZrqEqvtEwHn6i0GZDuW/GDVWwpJVT9Ed71kIkftvFZbe2ayb6EifLEJz3E9OPsTXKg3F27ONf14BPjvuVoDzU9ZG8ojCkLzDXIDAj+yVlhLoJtx+OuWYQq9kIkoJxOV1SmWG/iRRHR/12APHGliXDeZQ6zLigkllueTU0YMm720MNO4oPsIya45R0XKlHtOn/jaa+z0FK+MPOpf2C3lQideVLbEf8BIku6eNpIfODlkEiD2dNyHgbiZv70hBQ/AKeCF7p2Kev19PVI4LBBoXX1N5rXiwvvnsfQQPi8KTrURS9OMAa0y6afP1yaClWlQ8UGg5cAaS0fa/t4+holoUq+bC2LUE8BDKjtlFJ0uJgIIWtJqfLNLFDZpAeO7/4GuI31ldhoMXn5voeurLxdg8TRlJ0G9vO32Yff331Pwa6IYzJg9//i7WFcC5VFzLJH64ps02jWiaQLeGUvXEE0ggyRYI1CIbF71q3Iv493mNYOJKIE+NnrShS/2j85rdMJYf0jFht5u4buknkHyUQwz5cEUP9BErKughj57x8guQN2knbZnkbnDYojx7m9hKyWAiwAzPtJFntit3yAlZwjA3mPnjtRjzglH020SjJIeR4O65gAatUwgtpPSgBWzjFamg3X6EWD1KdvZJb2dpXuYITHHxSJOswyrg0xNgHuGivRGvvLICkQZFEwVuTQ/UuxzSX5euBKZCtFO821KH6TqRj63Jl+ynrUTbP8WVruy9R0jMs3Q45lFLRxyKrbecR3+FibQDEG/R0Yklbd7qNBSHtTgptIwb+zYFB02TBrExOERtaUdK0W6oRwv8VEIy2jBTksd5JwOi1wmpCwGd8bMjwOROa85yC4ALf55VY6C1GS0sIMnuADUlVa3Cg/z2305xA7WPGI4OK0eRPd7TZUxpq2ZnS9sAwNMHVCVjBsH2z2We2WIZAZGoB6S0sxWMhiOL4TjgfHJWTaYILbkkqIUUqsiBIhDGFtvQVGolLzJ9dPZgQhnbkzdy8nQKn0BL381++aF0LlWn1Qq44Mwxxdv9Kapr02/viA6r9MiQcXzauzzcOinygFUZd7Ka8a4BOLhTM48svQ2lJMRkYY2lrgn4I3HIgMeYLyZo32QGrzjolPv/IqwhbL7lhkK7fi/iEucEPhxUhvlmW2y24E3ymWtqnSR2L0qAjl1mw8U1LHXg9g25bNjzqlGKSrcJ1rDp3BdGD0y67Ml4EKzGBFRZw8iKCXmzGlcff/Xv5kWnxheuHf5TpSBh7U/HsK3g+AF4R7mB97zCGkprDnjhJV+41+I7YRvv7TkTwEda0tIvTJkydbOa5KS5OV9DwKa9W7msDt6701HkCCTn5fPf4S4iB4OuBjDECwV5iuCWBNebzYtf6xXhL9zkrgCMI+rd5tm0lCieIkRLn2mn01aQQKY1+DJJL/9wenzcdC74zkh6Uo0EaGdr7ioab2zsrOF+/7THZph140sA78OFIjRuonXSepdqQ4X4fL3kyzigiulkIcT6Yo7QGSgTBCZOHMkTZbz1ATzETi4TTgErGWL+ec7mmTW1T6gkaKIXJigOOQ+boiOv5kUSd7elqd8HBQ1W04ewCcqI7JBuexawef5qlWaUcmnPcQ/syZpniBhUF3vO6dhKVD/3lMFFHS5lxSD02w0Sm+m3IPGuToj/DAOSR9VHjb28i77IjrPc75Bi4LVkSWC0TBXtxUTWKB3viu4B9mVx1YV6ae3HPoJgqBXC+MCjuJl5s/IZAl17Q1hEQfZ/cUmEi6rvrHkGVt9Jxq4lzApEl5pUPC745bjY62R/SVnd5PQBSZz83Qqr2jRpn4bOpgFodT9iDs43WWxTGvSXVJymbgcuQZgZo1cMWlRqERO9egV7TY2gCzTK+VxhDivHn+Sj9a33Gg7Zs1CLURho3VEhbtzds0kyIK82MIFVfgGvl+hl/mk/L6z7L1OV8MOWXZRD8R5mMqn9uC877j2AY8alEpJypTDyuyovXuGjFHsdFaH3fhS+iJ6mhgW2srAFZ9WS6vkpKGJ8MhP6SYi2ZR7RD3d32o05124vm0Xa9JUbq8PrecMijn67ZJ6iMWpg3LBueyvurpsY9t2H2yHPFUZHajhXzTzHgPhduA8E4a/26p0cEwBXNy5R4nOBV+b4iTkpMMoRnpPZpGmiXj5AY4L5hehBLjCdRFa4dwrf2xJXAeSGBGok+b/8yXwi0hYcYd1u8BTnM//gil0Ra4AvU/Xk/J1D+5/C/2fn7edEs3wF+Umn1cFg+q8X/E5KV6TKS2DX6Q7qvhXPq6xoRRiO5P41uwjrP2G+Ynldk8XzU52EtlDcHWYPSbpShdhn9kfu0QY4gu1ftgKHcAaiZ1V9H6nnXlG1GeFsfxegeMNu2lkoJI5n+2cnP5CgzBb5KKDDsS5DV6ehLyyBaJAWnfSsj82Z4k3VvOXmRD5k5Ehmbpl+tkd+ucsUOw9Y5mAKGTU0FRmo8Tdfi1MFXAhATzEKPY8IUxu9CZe/r568loi3ZW7nTE4FpTDs/hZgbt7slEVFPG1TQPSCUdKnxrq811KXkaSbPHViWxu4Vic9DM3OlUbLSD5bvzloS3zlAEznCSyJaIsY0nz1AAPUn48sctbzVYIyuchdQGyDgpnHdkiWsN/mZwZnGW/Tf4Yr0UuE05t/d55yYJ78XQkKRqsgbp0IlbY5UJqR2Kn3uUzRYKJX45XubhxTVw1tlTWP9bvXd5M2kZen4rplaOswN/9xRSW4c6Ytf6RNriR3b3x8Etu5DPGjgynqMr4PUzDFPRDtnPoh9ir7YnD6UAlz1IWUKFkxdCx7PE7CyyMCctATQTkuwxID7X4Q38iCjuX8fE9PbK4/q7f+SNZaaO4qWd/lEprSZEwvnIVUReLQBHarvSDQdQnWU/E+vXVD6ISfLsF3MerywiQi1f4LkVLkdsErh0J/I1e2SC0RkGoVo37mzxU5nnNJ7sLam0DasBOnS504BSIa+I7OKtScGyLQy8egQKEVRwLn3hUOXaF/eVT1dHPslMuoDdzsenqv8s4XpoPaLQL+JrELzy58JfuvUgGg/DcWdoxCeltZOaBZ12NW9tTS/mC2nkdQrRi33Tur2ffznURAunbrc5RfINbzITmrXB4eHFuhY0oCAbZy1X3mo9kUsgFGuzF5Oiqri9qShjT9qH5kSO3zWaqLx1GBrW/9ctMPaaKYmcM2ewzLOMVFP9PYJ/xn66WsNzQfGgxjRWR/ICpKJEvIIVDjChmRHk24LOgqBzRI3p/CfngK8r/aWo13YStdaSu5xQwR+U9WXjgwMilLY/hLP5OL9hV05mbkNfgw/yYLroeplGKtJtd8ziZc2fE3asafupQIg3MrjS7MCXOy5c5ivoCP/OFQUT00PLulfkjgKjqY1q2Mg770NCbzopKivbXBn15CQMDoFo8h/2d1rR6zIIlKkxvT5++Rg/xKqQ1p3Gdrf4IHhLo34uPKdtNpaCYfDtJH6tVyqw+ykC75sVpztdvfcLB23JQycRPn4qLzP4CMPKFnpidpMM00J5oQr/w1Ga+Pyd2kMQzVgF16B7+dgi+O7ypROT6m/CY7g7vH+6rB3DawC9cMKZ8qQu0GPsjjCGqIjbl7tP6rlV+7H6kfp9ZISZqS3PF5h/gPiFOL2IycbARRFaPyMVt7QqDGbDUj7g2nRymT+UYcBzRqJUAdDLXIOyGeQWVvwOMzXTY92nCJcqnSpSp5HRHJ2QWKRH6FVTeypH3WREyiewjvglcRllMafh5NY7gnaqCJNbDAueBoPzlgt+KprDHfurl10z5oL1xgE4if9b/boFaXQ7RNe2HaZWW/0E15AJOyoT39igLxaoWWY8jSYVY4IsfnZyKx1/x0jT9FRp/pX3TwZp0VamPKtOIx1YR9tXVBVA/EFPbt1+nRi8A11m/wAhMEhiCT0Tm3P7GQW15ouKRpDFltiDZo/pSA0XhnoTXA2VZztCmG2BhSler+tBmlrdZqvIDgi3/chnIHQcTq/s2/l/coJRjMJtJZCE9FBhm8IoibpSdGwMc33Y2J6+0qb5gGZYGrc/Lq4w/P61yQQVR+8aGi7pf1o/mglRM+q7zSvMrASYY534XdxfiC4MRqlgWecjVwZrpZTuQk5edmgbPxHAehNfg0PJMOQAT8hd6x57PGERBdisaqlwv1MTsNLrBkVWScJnwRs4JUdQ0CW7zKfWJfvFwpJ6+m7cF6p04Be41njO6BDXdoHlq40LWbUBoBAfRWXMC1KtK1SE463fsNiiNSnzxGRrc+34TNFDXHsR5vjWhB7gSI9BXdYXdAvPymFnjQfCLgHSaOsas3Y5zChYrPPxL6l51mK6i/dxv6dPFBbDsIqhG5og0fXkq5Jvh2HXUuZhhFZyA6hQtQ60k/eTuE4+bda5CHvN/R00mmHj3UZT2gULB+NSFoKZykeVxTVVcreJD4hjWuBrihvIdI/XbauW3Wa/PkhTbT6KrtqGVO/wdFncry0umv/zJgijk4tbwcTbsGzCqncp3y5xhi+oIBw3ySiAZaJebUP4/p+Sui35bM6/WCW+G/W6/DyF93UTncybaEP+jWKzSLXDRwApEn6xVUe245lo1gpIlItzkmKcquwK7ZYeOfAoGZCUCPEIaQkUgxi1sUHPt6rm0GfToOlLVPIJXBiyNGPrxj/53myVISrJ7dJdDuGNOhohEtwgvbbMGJ6GJC0H/09fCAIkpRTXn1y9pN0Jjigp5rvtJ0C9AeO7My5Ra+D3gukxNkwGubyCpf9Czc/YRoIi+YoQD+RWa89kE0zGhKwVZdJOx1Lyi9uxyFm+IVFPa/P99hLotEO2fzZ+4gBdsRNxQXK8SplDCBUZRD4kWeLMDykCsdSUUTThP2huRK3qjKcXuYA/uVv/aIDo2WkTXXqKqUvEgtOUMwigSQ5u2MTLCTDvT0TtZON0zhpuJUHAoYUKqWrr5zcWd/BZLjo/s1gyBG0MnwUsT969tgcdozTDwUN3Hq3cSjVi+p6iMZO2ThCPgYJzQd4cPvZUn/Yny0VKMSdWWj9tE5o93yMOyCWnsYUIkF3LIGJm5oxPJIl3b85G/oNXwjl01WmP9miv1rJKxAuAofNF3nfQwi1Be/iralUQAi6y29ZAzqKqfER/H//Jr62we/SktZIdJYcX6WwSU2qMf9+GPkPTjPAmCc/yIYs0xVKdhxqgsnn5q4YWl0lEA0Ilt3etAfBwupfbrweW48HzEJlEXUoQNaK/gITaDE7ZsqHMI/rf5E8Za7xn2LGLgLVZWXysLVZNbct27zY+WMmFB6Jpporghe3B3YhbAbaThk/k7QnHL5HDTSOjQNVZ+VXx84zwFIARhawHWP2oglX9nFXn9gIg5cGSUjxnoeV8vHAuU1ij6nQ8wuLMZh3g/AKolucXTVba9Vb08U09pIFqDxu69dGEOPIhXYSoIB2k0dFOwW1m80AMgZ/0KdJiOdAJMNwhNdNaB4acBCHrRpjABAAXwQx8vL4dJocSQNSYoweGHyCJz8AMb2Ofp92WvQm86YU74idHWn2481GwV0tJ/VQWcyUcF5T6ThUGSsH8prt7OfqLr2QlVl28g2qIsHQw1SkxXjtXLu6QSUUbqTKYVriLW6jZKJdT+gz0yTMs0WS12e5h/k2kMOdBzgS1LgcmJDn7DkHpABm7e1VPibqBumQV/9uwKodKf+HnWpZOP7d/7BEVrlQbJPiTeSvkPJ0PlfhujossoyUxlTgwanfU7wH+la8DgJPtgua4S/xd+JeLTRCqnW8b66NdcXudqNpA/Y6OEORDtp7AcET640BnECKRlYCprf2cSzBjgkztZbs9tpj5jthFtIWeJ2mavD6OBtJpjQ0QLs/a/lt5yyovSZvE1FgpYzbS7foAj+gaQY3LgZ1FVlpD2pJas7S2qo1oKnaQJ675Al8RG1ifgTQSl1SRQXLc1OLLDghDUs8S3RMZJ1Yd03lXaqW3B94S20SCeA56EjcTobTUvNc8Uc2k3/jwL259Opuk6MVIImSFhBK31eWWskpoSWCFkSzj6jIpSAWjLxz+T8CPy2YeNR8k6Uk0owOQyomtKJfqqyW1NnMHuB7jakEiZ5CJ3COLerH6WnaeevZlrMFC0xJqqik4dDybX/vb7S1lkDgmmZIeuFeKEUoShwZidYsElBdqrLAYUDYnRdpu6nBDrlpVCtQMlvCWNtUugMXKv9gHqSthXLueUstiV9qxCpz4eTvTJZlXRphBYg4jvS9PSgRF7bJ4Pts6+FMzIBsUGezzxysCRw1apNjScyuS3yj0xaQn0gtrvGjjpRxR+ZBfC1WvumYePPYGgxS9NR7TjihDbGvEiHPJpI5OnBi/7s+rZC+Q2PONJ8lMWGgQ6KGOYbXkTnfolc6uwO4Bf/v7c5Vl+uug/fYQkdvy2hLWqWD1u2HKVQxYgUjESH+Are6Wf7AkKe/omHFl6xqViQGCihBO8geBzsYw7DlLeEeu1kZdf9d9YjINX2guSLpUVr4rBreOYI5vuW2GqRD7cSTemWtw7yIfZMZrxLjfNHBD6RTrdnleLiWNAS8/5BQvA8L2lQRZ+ZfjdmuqsnFfExQAd3iW71ZSD7lmBbGc+ywRS2N3aUMPq6ukOwm0CsQGAPERk1nITsJdRh+l0T52GwF56uw2mYhYOtcmp/6uUCsyl6MniP0i6CTxd3RmL/vYZ/oEb6Nmkj1VwdRLiym7u/hi07OG3c+HsiC3aX8ZnXA4o1PNz8ISdXtgjRzDeqXgqaz5ZggkBdFFK99vj1p6qwvAm5XuSc3vmEcZUeHebrIfRjPahhbMAEAdSWZc34+EmFiVqVqFPQB+C7JBiFRwLyhKbjIynP6RgmN6eQtRbDrHclUov8eQv9cIIZd2dv8ec4OmsWB0i4Lqtl97cY82X1OqowO+O7VPQuGGi8TGuUIotJX8t1fYmvhKWVvETAyn3rE9gZR58nh/b5lp402R9lnQkKd9GxYkN8PNyxh6u6ZFWtQqYKKLOVwTmjSnAMfw57v6b/TGY3Vt1DAFmK4fJdYnFvtw+KSftGPM6E8AtXV8XOnP1s5O2s2d6hMXDcXQofjKL9dwV/HAI9vhWom0Yi1w/p4brTQEhGvpnz73Mifql6gVZvzTIVCjyFysaIF6Kn5NyLdBjEs9hKGnV3NN+O6q9+IIBJxnEtderdX8dbcGLBAIHrmxn2sNxboUS4dD4eUDyT8hrchjVZEgJ29r9/SpxJCONN15qzQzPE0dl1/7JrMdWX4UTn+LyYiTBemSODvr6wRAyZPwnw1T+P5bdjBTL2+LElZDSCP4s6zculnLJX1pd6tRfCgAWalIRgP4PyurV3802Q5PHjLq1X3pKXVUFrslpThOnf6uwCPOV/vKfb7JAhUfE7hn66U4isW5gm1stz3poBrVtIYwJtLPFqhp2IkteFMaphGCYfKeV76nYqtvUa1zPHDJmW9zYiQ54l/LoXCY2WTL1YIDLCCPf6d+/2dz336fgqlSGXG28UiGG6W7l/nhKSesCRppxx9zYkG8POYBW4DMWupBxfuIZnT7AdUw1MwmA2M6WiH8HCU7t6DSH6uHcNq4Ae/iryIf1tQR1iNTelTG/r0s5Tcf2nyj9Ouw/lMCgIUqOCfCnjkRQ/qZgq2A/uidXBteeWkUQ8ZCaXhxsx6X8LeeixoQDKWVAJT2S3fYiB5bUZbs59uHJYhwFZUT3EbuDG68oHRMl8QTKLrsAM6raOTIw6wEffRRLgcjeRy+fiMrOu/xZU/4eRHVPQnss6C7xf+jqvs2wcbX5Lh9sLd4mHhxSNfQSu8TtLfIL1bbRaRuC9RnV8aYRZqU4Wg/2CxTLFzQub+PPraTEQspJl76PLfSGmlR49uc1TL05LGYpUAMunmQ9zr6m5k/IXWkn+Mlu7iClBS1b/e0BTVVwpSMGtWbpBa5slcOY3k7NJmR216EsNQtKSj3fcG+qtS7Xh67W8dK32t7Q9paWFioGiy2Mpu2dwhtcBq69sLF579PIrjoG0ybL5/3hp3Q+xK7hxbA/lstdFflhBaw0u6P2KTclJQTQmInY02liqSO7kfwVJQeUOy7ABERc6Z9B/x05mFOm1IhkxCJmoJ4qdlX0kxDlRe4YfYH9JFvgzjNK+fxiiXLbP0eR34/EGBea6AS9iASpbVTJljp1/Cf695nk+4IbjqxQ5VDn/xPye7cAXaL1s4Dz3YkO6ZT9bcvxlhAX2sgqR44goTvPmuQdlwcE38h0//xp7MVtUhltCYBIsCb8EpSLQ7ta/xb0Hm3wEaGw+94lS6VlQPjVDqYEeOT8H3/8lQoFWiNzJLf1iXqUvycSvBPqkcnSfyOWpzirJUslWxsJawOXX0HHZkOqR8L6PJfty9Cppm1kj6ojg1jSPIljazCIMNAhm19zfy3KZfm067Z2xsCs+oAyxT3BluLT4hPoSwHtXi4XGrXxhvpvROOuv+FeI1jedncCOBerXf7LXhwsNZmV8zAat3GkkOMQfJuoTI+nKJU/QpBfGzf3e1B3m29Nno88daWo4cR86kWRl+wo4zYgJ77p7Ji4ymXaVTdfTQMzbMESJL2nBjI80vzrMdgEjWHFeuHLxdlv3CJX5qUQ5WyMeAJ3a6K4kzWi/sz1CoZNsAn7bLKCvOjo8GCCc3JKKJ534zi+FLgR20l+0fkO0OQ6qv1tntihianSAgcP59XsPpiTBmGuws8D0LB+TjO2FrVSynHt/0zwcHoMnQhtd5jfGPNeHFYp7bfIs1BfmqmDYQFYri0wN7HkEEpcmDh6h6cF/GZDwkctCwsmGu/U0Gp5/MvMcT8lrZL1fQO1LlX/FKC5joTnVm9uTrFlv/6jW+3yeLTze9W/2qyMmPcCTBWR3ZUtVT44gY9AL0dTjh6qxzL/WlRWceMvmOa0a/YDeIEbyjiNjJtaLkM8HyoCTOl23UsToGjywCikouRVWntFuMj/ICrG9B4E93Wr402H2CGIy7xqmCfAOQE+V/Js8zKq0e7tIGgwoxYkdrahwKG6omH+KMHXOBiwY9OMunisnSdCny4+B4KuQtV4NAE7N9uSuhi/npzCbh7rLC9HNSYipe1/3Z2Y+Tt5IJ3cBotlzc3WZhyQwvmXejQfu+EGpblTIEBXgaycWFA1q6ou+p1wng9UWe4/OLBH1/rlxigWhqjSfy39E3uMnqGD0uStfa7o8Hiw982b1y7wtO7NaXXWxRogkGKov2hWvFtsTmRF0aGs4AdJ9IuMCP30+lCVsVDOquI7dvzZ2PB9vnENsN58pl8bRN+1PyzhZEWnQtPiqaw7E20sPSt231XWhogNYJlNA/mE3HelGQEVPy422ZrITGjiBMdDOp7XIG6WGZPOpUTWr7cY+9GQjg/qaDSuC4zrERyykwB9mJlcPDrgI7ggg6dbiybyjYz8GIYuAqS1MKUQifQh2wAA7uifS5gv8bUndVBB+nnK8FBnUbQbflbmJTNT727xj/022DO/V+m9W9DwyQRQ1KarnGM23GXzSi82OnWln3z8INUAr/KAUJGYeA8T1hDoLnG2s9bzfiUicveENh/XlIfaVegwsxbqqbJ38t9gpwh/RAjStfdYoAtmid1f3q/ljwM7iCi7v89pH44rkmQ5P6DrqSHU5ymFkpaPRtqLVkme02UL48I3xTEZVmVJYGhtKwaKdyibTyTnqcNnnNmt5N27MY+SQhSFk7x95mdovWx4XZ3Pou1UKIcjiWcJHwAGMMUcg7pPP28czP5X0gueBAQjvipbAPYtY5QxY3Hb1FHAKhDbCPKH7dMvqXZEXqZ8P9TWrqTck6qAL/PsqgmIKrkbt5qvmROSHOQh1Fx5w++cJDXzbFl5NQ0enYb+e1UJpqnGmwjouAuUWJyBeYcVeTL5y6FCadB2WnAza5dhqTskS2lDvDWbZljB9f1GFL5TKtCRkFYf6LrtzL+NplYba5mA7fFxzGP4vduvfNicIkTirCIF1rsM2DPUsFz7zYEAAhtg4xPZxvuqqVH9+dZw/YDNlAJh8orb2jua2qqBjAvDYK4AcfSZi0vdM3nNkzLvBxI6zu5s17XVsfGGYctd/Ct8HksElcyV6r5kKiRg8RYtEJQVWu7ACUUqJHUTryscr4ktFpST3xU8X2yM3YVjy/E1ldDmPao29m+WIuCxoxWHzYymVkHITcxrEf+8TaJsfRsi+Mp2Mq0/cMST0g55fhU+1bTDwvxxg/ub6VhMpdepbU3T2eeyOGtyGlaU77k9EShsTcR88Tej2K9fIm0fDCDlUjmUMi+UZlKgCOQ+9WcdXTHVEfEBpXvbNNuGjPHfUMugPZ7F/BTlFZqdW/sqD7K55Sb8MJOpwy4izz3bEzJUPcUiigZRrmwuKtQO1uWwV8VudT3WT9856WvtMcz+6oRfkbzTsPjKiec/4ue7s9RpY+sIOn45Y4R9IjvTvcLeCbg2inPoPiS4h33L4DiI+UduuRpPqz4S7UfBFUAfAIM1sKhp+1iIarGp4gD0un14QfM6A+pm5J4UwD05ujv1CquP+OR9Ab+5LwqZNfGa1R7a8NelFbmgKQjjwF3zxzEXzBaclK5EX7depawgCx9n2LpDS1zTvjSKKbZZmf9b7Xi+3cwFv9QotYNwHzbw36bvha9QavJOsFWTIAQxwbcKaTv4VCkrnof9wJ+dqMZNCg3pch73eIKsAS9WgXLYaQqqmSa4x9dtxIExZJXZmLLT/agV8/0q3vfULrg34OJU7VeRdCuhLZ8Y0hTc/Ll2WxLpA7PQWRrstl3bgUxc1eqU4N4fpyVXhEbKRsWLcvA906SlxNqkgOIe9NbrCERuQBcvOyTKDLZmxkAePRfH95ywtZcEw2S6gASYqIWBsMTusoiYJUWZOjKxR+oee08B9NOySWbdiii+qku/d72+p244lpOjCg1bPVXGOU6MfUx8TFai38hgprW5YmGv4dPMh9xwr5l1BlnlWPIOnsiAM59OuD4Akwufb7DtlJJEFjvQcxow1LbELh92Se5bBygqXUBKslDaXD0FNUHn4AOfSmECv6pJhVQxGZn5g3qrObxDJXmeicL54d8uqGzMlQV/7AR9REJPNnR5yuOwI+7tst1ccZO+f02Q/35v3d5LiRhP/BjmzJZAj+iqwfadPo2oXhte7aVpX2WQGgVqp8xeod9PlKv/n4bCkkguABVo0aYHUJNZj8MCRMi4rVcYNe69WDLinApnUHU12BwYjUt8At6ywimJpbdEu/4OfLFgCt76AFjq9xMgkVIXVoVT2UkehodSefJ0xdP4BSC49hvlJzuxmWGlACABgJ+L0fbF78HQIUz1+9rwXeoAs9Yrh5SVOBrz0fQWoEabkIWuKcTqzIMPEfe6qqTPwY34xr+63NQxnRGGbd2RIt53h7WdadN+6tGx8gFOsD5nf7u0bWXUBFt4Pa3dbMU+tEwXZzntjx5JCs1IckZp/CiCjNeL0IvJrJGTctw0XfIFRougmAT9rBvyWxphqSDclITIbFYQGduw5SUYi+gMNHjqtW2fTjMhoG+3XBlUGaevfo9ub7wyuxWkVbD9LHOzROaS9uPhlEHwcb8ZijKsDwrJ8ylinh6U2fEBNfy6iHPGCZIkvMSBbkoc1RbnVW3hU1N/s9ToKFA9b66fpCkhykZLsJqih6NngnVQMrabxJ5oQDBBGLTIuk0nuS+Ifp7YjePZX01b1y7wyNB1P6GWNs20k2c4z8G7UYa5JId+3C7JOS8wvA8BFcvnYSjrAXrK9bR2papM/iDW7EMTa9P7gx05sVBo2CL7wpms4ZuQUuTtNZIEExvQm72xoflBOgEePRVB7S7ucvZUL8RG8CFlyHPHB2hawMGkFCJmtOwwni+6AdRCE1bKFLuPOUDUb9S+pLVYQjCR8r/aMhGiwRTIUiJnicnqZAxQWu/D6FPc1jD/5klnxcMX2URKGXOiA5d9xHAziOlvUsbUt09KkAbLRcD9HrL8g0hxpBlfFXlxbnkJdIr09AiX+3anHgd5wOnyJm1qMFd3J9er9SSCPlREwh3Yl3ZkrsWFT+WrxkMYoIaJbGDaTCijA6HAZpIzUxri7jhmEP9FxAuALw/ZVl7KghsU9TSMBcjZyaKIhMdC6emkYC4VB0gIId/+xmUNAuOoqBEwkPjQFAKaaIvBqCyFSYFjT4aLndMNdo+m6C36ae0qfk2MAGFngG5fdk2Za7LiBcw55s65RmhuzFbqFG7c/TKBdqLWsjc1PgR1HINzFfIjQBIhDnmfaU0WbcygYJAYZWzEM6LeWz1Fg7SKyBFqQT3E5sH26NWGIVqEV4v8x+uCz3tAcGGnS0XSr6Euq6M07cTCvNTxuI9VXoCzigOlQ3sxZiZc7F6fHH1tuWcafj+Jle+D/nw5Ry/Tomrnxxi4qPeUBdbCmu3+pgB/3Tya4ldtse3XR8yrT/IDDLhexDNqxrsadfEYw8ZrMsJDP4egebV85bYOfYclJfztds/stC600hPBAFHrHFrldGFUw0zbwlhIdw2+jCIpF+rDixdEnOQx8UBuwR7cYVWtqUh87rHsYDk94J1wajGnpA9okMVSJvigBtOfpxR/OUendAwx99s0RgeatHOP+CcEoyODEpZPvALTaoA1OhE1k11S8WBuEAaYZYlBkYTFtADS0HypJ8DZUQsaGaFI37lt1vxmCChdLRqyTBmCkeV2qTh69OUq4D6PaZZ3u4jayS7RI4BpueXyydSzyH4BVnG3KKbn75VOQF3/T/9FYrt+QM8kGa75j4S5sv39BYGG+aWQChQ0w3AU+2+dZBnArvCh++6PptvnM/13vVy5eJLCHiPSlv1s8qILdFGIt+J+VfDV/Axv7R3+cxH77mgR6WmapMT49p/VM0tMWOwpL0re5VfBTYfMCpEhw1VLuTqVgPskJds6T0/9NxQrbzD0gJ4ZlVEsYoL+XKG8V+iaB48JqchhoecPc3owHU/rXmMwioyV686kRR20I7obaYLPevMJXnBZcQNi33C0fsceO10c/TLYuxKUeJscnC/TERIgr8P4YeOYOhCN2km0aaCzFnJq8n+TLm6ctW0BUGZzaURSPZp/HB1rf82cGeIkXG03WNv8eg/L593imBxD0FzEmZtDmo0iIn138lIDg8HLWRvDwSc+giWP2WfMaDsi5DUBTq4Mn/dqjlzxH3G3wW0t8U0uZjFhjenGeIYPRtyZwcNp4s+FkIMKB6v54hqyu6Fr26SNnv1VA2G06mzeSdatW7KWKw4uQ3teXiZ9ZrShT3AgF58JVK+rQ8BL6lC1sPVJlJhEuyDUhpwgRMOb3bVAOVQ414PkazZUVoeDuQFrXqaA+zCOJwh3nz3Wc9JZnmCDPkPWmZFvFbG795kaW0Ao6wwgazAX+3252GLW+tyRr+GvtdxGmFvmOV68O87un/6WuVwrSo1u3AZhPZjJ7iIyDhvoKS5KBNlbG6FRzM/qjsIS98Ppl1CuwaEbvG8VVyw917aHn59NyV4b7/5OmRVDd3rzwQsa3cknJ0Mn9I0PzJil7bPJqf/oeWnsgRn6eZdUV1FCwVmZI48UZnD7kEv3nf68wYbSWrh0ADAdcRVLxcFAQIP6P23xaCI5y62KyzjCBv5MtXcuFsLiWckZFdYkYexDhmyJLo73Pz/2PQMNNglMXNf0NY1g4H9x7wK/PHiSOqDZZ57UdRYSQDjIt4iJNOUvhmpAd7vmCqEdRwMf3GR68oBV8PvqoR7pDHAhWsSlfMnSUl0ylPhqDN6lYBtyhuQFoKSSaJaTcFEcCQWJ/MbKYIW5XLP0skfEs7vPGm2fWdx+Pt0Z8Q1zDuUuUSh8RIGqlAIu95UNP86p7UpFj2BmhyxqyMo+Lg3EVIDcxf4LXqmFqWlpq8h01bniznOLrRi55yolrd39bag5J6I7OzWsF5c9eSl5DI4112aKKKLvH4Q4XZJq6F3o8gASJcERisHO7wYmmWUo3R+NQCc+V2nc0e8yI9vGIUxEDtTyuAy2g675DbOGVoc/qKPSaghaKpnPzZ69P7j2QJA3MwJr64HNWHzyrUplGbHW2vN0wM/Pd3zZvbgVqMSYTtuv/PN86BU7FEPIzFbYtDnmjadxNESvsk1eKfZeXrUUDOxJqsGXjromoB98VCfEnw2RWrfSTi6h1WBwrh2z/RY54JYuLAm2KsPZ5PdDA6r94n6L2kuyd7b1KdCOYBeAsH4+Cq2lvWlLWbSXnrmRnG/u2pPz1Zu7L0kx4dfgJ23fHuE1cueaWVwQHtnqbHGmA3XFA4yr2Y+EA5hwyBqycqJIf1OY9+XDlJsja96Z3jF5bh7zy6JKi6bggPdWRQ8k3Yh/vTvAOfhE/5StJ4Vd4/gqpCnbF5GfWihz1ZP15SMQvfKPcax/YPhcfdikLfKM+stK+Gc+isC/2pguymnUJIqqEZIZMVVDNTEXrqnfdvh1GNIVYHKDyn0kyifzP8ZWKo2McUPl2/6onm7Qyh8kA0lWOaYt2OnuxggGo/eaBf130ClKrBw8h+wBQkboCI2/3t+yNWjDZ/kjXtG/2oVXo2jVSm3ItdxEeuZOKlS8/tffzqVSvhDZqCOjOSDiXYkyYZd3QIhFsSNTgeZx/xMawBvriz0PcrVPGRJoBhFKjE92RmlDgeLDsO0HKkpplaIfkGVRO3olGHuoXWomC814UWj1skFy+jm1uFfMxXL2GZP6bhodNZbnrs1ppFqHp0NIaOiWXYDCwDNjj2+64Nv7YbFeAEJ+eDxNCfL6t5scSeWr3UeeCp6bYCmb3AxGzTzrRFL2vIi/owgnr4j7q2ajnDGwmtNsv4uNIwLlRoXpZTBcV8Oa80pFQZ8vabahQNHJHMDGhyfHisSy187B45LSU25wWKg/P9fnOTTUlsHPVWKiTgu2uHn2JMIWWuD5f6wkWvhBJc+XWMWNtPIisoPbUp21dWV8pdPZjelvp8GDvB+i9eTZ8uQeVO77x8+ABVrEynhFv8hnZxZ5gv1Rh3zFgEHT9w9MTPMO914On3oaaUoGxcSmrfq1SqD3nft0mvCdk3c0/82E6t+nnD+Fm1fPHDuIllw08/UrU2q22IWFQSpFpOQiNg8U6gygSPl5vVGlbNj6nRiyjAWt8MoYxvQ9arh545KElQw8+1B9NjlxmJJUuEn0TQYSX4sug+dRXoZqdzK3uEIq5zDvWOq+qFDcOfw6+TnFAwiVpjH0R4D01CzWnQDvuYEXSSd8XLdfF9eahyC2Gp2Pr8QcBITccAZycoVC/ilUrSefU6s1rn4AL+RHYodX9bIJldBmDY7ymfojmvVbRYM1y2/mT8UBeV13uMBWL066NRAfIxd39OkQLmLil0euDYBjXdlCLMsHW/ouLpSRQi8wRIHWQrCnCj9pLoTdzTthsIhW+dzybl4167jAinhJjUtVVH17Q1Owc9C2DKvipMJdeB+dkkAbgU9NAAJ7xcb+lLHAr4yBAV4d3Obf/N9ZRAUuqVPHRcS9ydYn+T54I2YU2HA+6JO4Qg5fygRgyLftDcxOm5vk3nT/7qOoEp9yJa7DW2/287ZDRHnkE748Tb3MXUlaEUL8nxmvpqM4/6WDVnUTwssTquYZMZWfq9IcEou6OSMHJoFpjTWuGxcwCHuQhQ1ckmze16C+KhRS+VWTEOVk32JA9dD+tTeiDaVAm9SgAB4h9JmlIfqJP99UmPAzSutPL56LWb2CaW9hRfdkIuK+aOKk9Y1HqP93On+HK0ADmeIUM+V2edJ+vFLccZq2wn3AEVZsuysJ/13KTncJcvCwgbLtoxDdcweMA5r0vKRcAEW+A7muQ/Hw6DNH8/54L0sXebNXr9283seZdNVq3ciCjWsQBiYRf3BIJTFGGKrEzWz1WcYQwiMH7bPoMB8mLN6EyOn2HakHBD8xJNiaF21JZ1nNQsMoisZUMuURlYuTFsRvvhoWcW2IbfuO+nCKt/KwCt7f3Ngs2gtLOy9aFbJCeqlZCEmFtIeJzVtqbeZ+M5+KJW6hWpUwZl5PEMTall5kOGo0Y43MIBSD6xMwj8cZBpIwO/A+5aBulCJhMKmE7NcR8UesuQLpBeDQs7g7FxgWC4ab0/PMDX06L4PsfkQETXXDwBV5gt9juAkbjQwXxKRoJXOqmlVuoD3m8ob/k2oCRfW5x2cQF9bmBlX9y7GrEGgOCNUqhEIzJ0DVZxL9m3dSTiR1xrCsIvLPRu2TyE604XFDWnyAfZd/P9WAMW7AqYcsf9D4sSMW1zAq4DYRoVU0aJ93F6GboL7uScoAd7ZwCoUeNbJrvQoy55dbV7UaMDr+4758CA7/pOS0or/hWsXvOW+u9CnwtcTxUYkrRRHeN38FwfXkjjntK2gt1Kh4v8isfvcJry1v+NrW/RJsrO9SZnVblNLC1QUTX9qsnqgHbb2r6TA6YNy7AvFCMm1yMtUnxoI46FlyFc3SnqQWT1h51u1hUsQ+w7xNf/uV3m18PbN8D3a9OBstYs4+//QZe88b9HaDzloTU1O//eH9gbB2NyxifhjpcfUY6VkTkyMJhB0MBK2zj7VZ4rSZxnfVmq1ftrMqeCtLeOSprHd3UD1q6Y+FO4XPRn5EU97Q/xmLrC+hvaNUCyE9uRgDNeNitMMFccI7UIdndcBSbNW6KRTVrM3NqNYcgDfdzZzG5RTdRaPyEczq+eGwIxIwkriPqBQE0SoTHoJ7r/7xouE096O0aNhEWzm30uebkoJceVpxkhshiIS2iaMyosVNH2VptZNIb6Gfz33Bg9kUpnu8D+EWtw6A5XtBmQFrXpIexaKLzYTRZJTbnFE3Ei5lISdJZuAP63LR931KrahUcOGgUT6ra9Mz9CGNQs1p858XwotRvPQaVuAwvequNKYyIHW5632O2laMNjzu3Y+ddNevuMpQVDaJ1Gis0osOSxD7G7QSSRh886eMXpwj8EPaS4NnadXo4mNotE7AK3z1WRxYjCwufoU8yoKSqFkMJbUrUm6H2ZSDtvmm9qdPHb0T65q7zujmIU+Xz2OZxYSDtwyEhG928VFoRCD9qqUT5GbE6+8FILTFP8cyKvr+OJQterE1toHGG4S/dcCf6bwqSzH32HZyrK0ZWW9HHSoJqvGdvs7PZBvrdH454aLBQqNjRAxfK5FB12g37ttUJkoamsr3bMC0giA0nlEsbQu7kEgkgMG9HfBHy7njlXoo+uSiOUxD9U0aJ38yZ6lT2w9sDndl7+th5UPjJVdmWA799VunrsT5HY1b75uRHRY+Ne2iBhQBUywXW8FzmItLDrfbTKefMv7oeUAo+2VKJxcAVFR5UJjJ60vSbpcZPOBqlGknPEOeNP+TLF132MasYAVU6C37ZURGrCY2SiaBOgPdGe+YZozNFU06nk546oe0coNzM1s7JBR0epGYnBRG0ETTdZrHXcbacTi4fvI9SQmGzcVeZaHufwBFOQ06SPVZYHm8vDuPxehWghSfTAdFt3YAVO8b6z5xK/ww8ve0N9eBtDgIH2N95g9oVu9iskKXlLKyGQaXrSZPTslZL2FQZaYN4fLTkQZ+tOGBpI4Hxc0GcRqpZzwbupoAw0Z+2u6nMQFGx+PVXPpvx7yUhuLPJnjZ2MGe9E7BMLruA5/wXqzHAxRfV0Ja54X0ZXNIRqRbU40qdDV5cf1Y0IMcnmgG7mHQtqrAyE6WvGNXdKMEL9AKpY27sZs3OluUimiAND04OS+f7nFXAJ6dmdAdqNQx8et/T7tX9G8YUbaI/ki+drHHScqJ3SpY3zutvP0pPcQ9mLCax44Rh1k+eYQDVihoGzHE4+dNYN7A6+uNW0hyYbvPZZmrLpNLMtT4yNSMfUfbMMdL5aNa7V84Ui+mTeCtSyreJbk3HpHkVmpBix3H0rFM2Gc5aDVsCvxFpisolb7gBF+B7hCo+AiEQBWF2bNWU7Bxj+VE6ZPZs8t0werdiC9vqTsdgaKpaqHQxOweh5pwaegg7zkR7E7kietT9xygN9WNhdmtJsUzuGxOFOQbKOwNFD7ZAh6pmtTK59dHwS3DuajksCxb4zj/P/rixphCj9VPMp5SmZf5Un1tj9wrUcHnPUvSq2zpxVgOdYFXljME3Ll2tbROatXX7OVM56FTwVDSGvDItKi7Qs10sxGP2JvyGlNRQhyMkBIrkqpZx8E+MN8s4NgPyK33BWYweSlgOmY0YOm0vesnCntvLtEMxWSHWDID1+JxyZMmxnaO9mbnoLyMQQGlf5o+asuaqVUq07mS30e6hXWjIakXdu4MDCHvL3GOM3KCKUl4Yz5uF3qWm+8xppxvgabGWS/pKoa3o9pqZdAiIyseIclO5Ox1ARrWZP0mIVDEwL3PNX9Rz+vosNjKmkbnOw00icTQj9EPasPfuYQTjTnTu1V9p36aqrNEGhkG0T3tRL3XMjqMvHFzBjv1B5j3RSVIYUDAycPoNkquK9XCmX6ZFLBy+nGuMWT+atrUbqY2PS1dQQqGuO5+gs5mAPPe2XMThiHBL8SAxUCPsCVteZ5zccpJbt/5FEHUPI1PmKhvb7n+PW5E2l/xO8M66lIpmIhs7zRGkXCdToLJtyW1b/WoVSZTSCixfSP2NF1mB3rL3TpcxnfQ6IxS0uU3CbZo4z3MvjVI/a5503lcGy6kEM1XNTYiHUHqeQscX8zbqcwwknE7vVv3er6tk7FCtNCzHQolkCAtupYNs6xY2YOCXrFeobYYr3r6u5eAwmHjVtdrmHELRqy3DGmcVqGnj/uRSoLb3SOhjROniQhhonbYCktD0bGfj+ov8Ga9TL+tuLKo61he9tb3I9DVx8i7XgNh08B18yuhdZO89nMQSjEbFfsKZC+m6aY74JxAdWeAIvQWM5WsxRdq0jJnizroyEak8SmcQEOMAG34nhbvx5JTmLm6zh9T6a0fbZzqlCDHu8tCl16W8vw6gMR6dBte1JUQO0Sw8iFxYj4opI5Ir29waS/nlv0SUShDD1B+dWI3rZ1bRiGwhbEcrKsQvJHApi3SDYlq+yhxkc6JwQSlqohb9M1CfmLtY7EAPdyoaHpyj1To7C0sck9F0VBPDdw8wJ/G+qB7TTN03zW22B+GN/zf+TL7/Zr59Uf/JmFnUbsD4I547+uynLotu+urE17eZHM7BqivbOvq6tyx6A1peQQeBFaKPLCTOgP4C3hA/YrflV8PUSayKS40eqXJ84BbDbsuHX8w2fkotViB/7iamsRpWGGAlT8v0rRTDAbDRpGVk8RyldZgVB2UIgrcmiap49HLktXXLiJ8q8HJHUIsQNcyzbzN3yWTNu70mo72A7878sI2M5d6vm4S3iJtadLy21+wZdJee7mEZgbHToCgaBABAsW3U5Rnu8QzgCEsfzRUTYbqd4yCGzitd/dv+9vnE+6EXdkr0wvzadBo2VOHtPicd+cv8M2ebmDgbHEpm5vb66EEoZNGH46ay+SJ4hp2CawygAPHOc2+/EDjacnSNnmQC/VshPPawWKJbunHS01SC0HrCqH/m2UzgfcutG/Ep7yd7f7VEIzQxNY9A95wYEq9rztnQ4ZIUprOJ2ITqOMZ7fC2q7mheKL9WxXFYROILw4ojR/pc32a9OzOC0UC+OLU1QkkBy1IjNgR+vFPMzaO37PW7ulgw38Ot0YC92EdKW5E8xhSdA5/7FUYlLTR5G/A3KNcmJwVSQ0HGgwwpLeFnzGfVi/76wAI85vr1lRye4GXJ2QEpVBpX8kytjfRZ5IubmZYSDqkzlRLMVPYlQq9p+K4cMAsiajNC58+pWHFwyHqr/bU43I3r53nH/s1F990WkOH3grJ/LstRsQ8/qr9VUvJBzx2x+CQuzg7LVt+cdkkKto8bKVjNHfO8vHJUA7+4M1wgo7IgMIWFrfYq+CC83jwSPZMUjQidbKlnridRfmjfu4x7+bO6xqpp7chJysTDXcxHNm6ubc6P/aZ0C7zMfGjicEO9G/51WfiJWx/unQZSVTzDnubgu+4eBhCv92vSFSr7OrQPhWGkpO64WJsKWtV0MzGVeR4DbER6UxlwGUO/Uvn4Ih29PdMDdbFg/nS2jPuGt3TRWlaUM9LCtgpXIFK0puDhTFw/iPwmZ2n0XfrtbCgGBShKe0DQwm97iJ3kgTGjYNSTO01Kdgv5J9atLs6AK7kLx1+OlpdfAj3PYiyv70TpxJbW8KuhvIGVvo3oCUKPoyQ83PayfgVBhVyknHzKVvzxrCfYG4ExWj6vqxMoxZ8F0cGqHQcBpXVSxfELA/UpvACyhINST6FGihh3sbZJpVvyeWCF5zJVGVOUiounqaAGK5TWhwXokFQXPKtCilKVYadVPK6jjL3Sfi1spHtGvvI7RqB9Oo2+ofo2LXUgnjIBpYy9t3KMHolECi8NPQ/niwzc8YrkvFkRz7knM2KxOFqKKtZGBYZNrofRKXhaS9XXYDyD+cxtMvb0F5rhGUNZ+AyiCkvDrzXdzMpaZ6qNoB/N7qNXXedG3oV6SmA2u/yHK0MRu6TE1bLwKIFq5p3h2eKCe0/JJkUpJadQdVC98zkSNAxsf7Bbr2xCFQuW0X0gfyvYpMJfsuz6blPLdOiPv7NbeZ3FN8e/l0L5f6tUd0aQWGXWB36VtAq8itsOTcD1ZaF8gs8skIgcVtYgvlLUpoLjtZVuPlwGviUdevirUJ6Es/Z5iz1qhbt2zX8NJegKQuQH97pwMW6K2dbamR974ZETBEz2gG9dGrG64yGZmm8qEqWwodwT7ajOECwNUQw0+qQY2uA31KNSfaFepIeJQFDQHzhBWg8dRhNIgmiBdvtAK9GiO8shFDzN3H3DwAxdukUEYKXHL0a6Q4ffU2h8EdY0WbzPadztICa7Yh3StZLVNXJskucLy+onwR3AgZKgs2QYAI2NYwvQyf72BL//NcdRScppix6ainOZN5glkb+8c46vkLmBppBIx6oY1GbMPhU5AfQ0D5r4eAL6ek3HVkP4FTjmdMkSEdPITZdSxex2ydJFeT2pFKWyfdc/qc8boTOmoIzoKpEZN93iuAwESNGfXyyYhI9+0YCQlGEHEQftGdBHo/hCMQ7YG0ALPP5ArFgHOEjrqKuEbYcunM2VbDtt9SNwc1QXLHbLt4Q6U9Evo7vBCnzDsOhJODxhDasm7SZ7qFchd7d8W5Ru9tVX5Iz6JiP/VURATrkM+N0EgY1SzfkhqolvQ8ttGH9ywvnhGbNam6I/Un6tsigobu59tiRtSSz2vFpoqmU8gJ2WjM7ZZcfp+1sDasdehC1DyyxDYXTzllz95Vzs+fF3GUt2AeqNYXvRhR2sdWGMoBQtQ6LUzLGHPBBgoytXn1RzBLIqgvWWtEV5cT+05TISJLi2UU7f44KdUlHJ1DWICgK4SRzgZusPeICykpJcjf9RUPimGP94+rxbQIq4qlCB8AiUCpZ3xoqX2l0A8MuxkWPjyv+FmGlx6cp+HBRX29mlGe6wjSYgNNYjQYR/pJG5LYeuwgYbXdrMKG6NM244q07GW8zy+yyNMtrGQE/t72CCstuoL102G9kY1h8khUMwxV2Xt0MKM72jBcCqiNCoj+lOM8+dIPStuWPmwaIzrqOaIkB6KfZjBmgr0yEUtYG/5HyryuaAkjcKWb39awY7ZcMQ7mGgjaew/RM4B5eiBoObIEU50xWPKE3zrqcQKL92kp39WhAlngRKQZXz1V+1KT8j35LMFyjAbM9nPYVtuyw78QhlH65nX6RzktAC5KEY+2v491g15sAaTgyKuWtJb8NztdW4h9YMysoUTtKnBE8NyrAAoAHCI38dG/QwfYcPcL3zDiKxHeSgCKg7gDu2ljLwBW9O5PKXv3nDolfiKrxTH9dK3y6viks70ghZU8Xy6bEbaVtXtZlw9QSgGs4qzesn8miG3ZkmIFqEW6+OBv+PE4r3W+/UO8gOU0ujwxHaOFQDqhrjeqdpZ8Cf9zwKXhsFOnFRjEdzXx4G3b9RdLoKSqrmt5fi3R6e5Y9i+km+t9TTOaQ3EAjtfbBYgfXtNstSNxuFEwoFuJdQFFUX+xixifCgr+Hd7FpiCQ4FBOyW1rQRmggQxOcNVo30DywZ8MAjuULd6eONIVbj3nxM9QvZDYZZ3I+eLC46mFow8/smgfpdvlDN+x3lh7ybWP3m6RU9nvZdbbf/9ZQ7fqzqyOcy/pmsIcqG2LC/lEc1HK4sQLjPhbZFAuziMh8pS8g4JLjUQvkY+lHYr+xMmh5JbEQ9vNLdtgh5ws3qqPjJ++tsby4wz5DC1LnIT637s6z2u0Lnx4qzwNf/XXaFW/0gN4pKPujOkZ/iODzTcighMHEEcCD4B9aNvdqroWyrT4N8a9OOhejAm3sW4RR3p1MOcl/3xvyXdikvef+HsjPL66VAVaQU9s9bEYkQsOY3RfXqWCiqY//8+85oH+Z6t0BAko7R36alEsMCgwfZzgFZs9CAfG9xg43ZkY9Mj77FturGQ/yvUW62FZhRydzwpYZN15T6oxMrA/yoP8KLCsk4UYm3feiApXxol5CHIJFIQdhCD9HL4MT0Mk1Rnya0nlNLaY+qc/0F5xTPp0yJM2x7wd7bzMxGt74zguIxk6PmVRNUQs4iO917w+CE29sSzTIp5LF5BPxCOJpx3oBOwjrGIWL0P7qtBvvAXuPXPHOfmGWOZCMqqOsFbWQBX5vL2Ikq4/nzGDlX8a2gJGlnF5aIeOLbfPPUDwSjjj0hR6HldcR4WwqJ68EKA+LavIsKfUl7ipKb2ZsHbT3ggYK4LsBHi2dGSRPvCBHnLo6XVGo62+dYXV628nKv4khJTqyUN+/RUj0wERg2PNUVAa5pSBmFMNOGGK5fjDlu+6WN2pqa615ILKdxKVFYOFMMmZIGpP7JZrJEnwAMTtl9kxiypHuTIdPQgM3qFZm7X/dqh5IgKs75Ciz+w76ZOHPOTpsfUJ+DBit/6NJm0bBCvwZaI+kbccd1NsvSmTqEwpnAYTW67aKN92ecnnuw8+5s0ITZLpIUWofwY9cdFz7g/dlDlnXRci4N7sq635IUubchEcH2rIMSvgcVvmxSr7GdaiJE/l21psN5097dVqe3BuWO+eiY2NPjj9bctMosuVj4YreO+usxZ0k1CvBL7QFByDCNcZCQWMQZ9gJkPSo9VW66geyShlDV2xkGxLHv6kOoNTUoLaif5Qk0h/TjrUXiB+B9rHR68B5NnRYWJEXodKhIxNntqJ0N0TKY9hhH4PL8b/hhW3KyXSsjkLdVx/j5dHhBRtmQ6vtvJyZcnUoKBsWUjfDkf10NMxfHDqymksc04901+UEQBjofHbrf9/MRs+5iBHpBKuk55syie8FKaC3QaX+AoHv0az2E5Wo6+VKhkga0hlHtdFByG6HS396EYrMuGGni2UwqNEm1oSmaLHfBTibwbfrzEhCQm0KYq/4kbHlAGR5dLnTlkFqAyBBsFYsKMt+CU2jE2eurycqlN+98xujpSzUi5cYG7x8Wfg570SjYAmhoNXKuZ45+42SoHkrVwDbbNAgNBtfz2XRqXG8BbUd5p3k2tv5RX0c7ROfLPle1QCweXTW1xQQwb/LfLWHi2jLgxRTMz6y2NKY8B+EhR2BizLU0aBwuBQ3R+yrQNF92pggKPINObXQikZrYSXEkPCnqLEdAt18LYUp7AwXGSta3hdt0OD2Kh2btUQbjULW+C6QMnsjSkkBOQfKAL3NdX9Dz0qyvOzunoWXmoiwVNi9vvAF+VPm1Pu4OYpAqLCgx+HPVzVDPcw3m78UD7y9akAUtNlJlMBkOIBrAlgFPy2rhD4OH3oMZii+XPHLSCcJ67No90Hy3DQ4YZgk1IIKLE9aYEa/s5+K+8kBsI+vyNsKkGKhODR5uek8D+1gq0TXpgAMQiPI6LDFGsfuA9Yl2bAvuYuxypKzIIt/Cia7L99p5/j7RCjst7vJ40KoDiAIFConJ+J7FSJ/Ea/b/I3ariV/xaOuOaON564IF62W4+gyuSle7MoRFk6327l2YjAkMR9DXBeM4tRuDV8pCKOFhKbaWeo5Jqe8tdcK4UJwPaQ60pJs4Mz+v/SR+KeIKfeAS/V67mdW2ZWq/bMEMMbCi797ohbXBgw5U9yN0b4c0RBimDtPidNLHrZMLqS9Xs9QhqV/zF/BeqVcrBj4DQd44F087EqBNZPQl23d5RGYLFn9wDpsfYdO1lfb0EK+xZ9Nl8fwlxr8jaCUnkZdQNYJq5R3nVoRH3sPMupL4xPyNP9DEnIu4LVagH/ekS6RT+pyEEEfbEf9A7AndEhutHB7uh7sy917vHFxGZoApFWT2ElFj0WTg+qtLH3lloy3fVMDWKHev0rfhgnzZkP+8xHRsegCIqj506MmC/bqEP8WcJ+EiD6JVbZ2jzI+dYigC+Jx3fTOkAPm5oofe0z9Sms203E3b68A7q5HtMWoCjdZnaRV/LhHxLPpzuuD8QYUIKRZ6qacrhTWcs5CwW8S88CzC7oMwsBqVA/aKPFMGOCti/Q/t0lB8l1w/0hQZr4iKSKuDvR00raLK0AYelMr7vUYclIJPkE7eHAwqK5u8gqH/ssAHkMZ1pecwAW/crX8/1eqOCKEAEEsqyTftSQChwtX7xkg0rNPvFcibVMsC3XGqxfhSg0v7sIuUDt/fFlYFvHq5fjMJSn8Me0lPERQa0+/VK9yirGSRoOVo4fW0oLEa/xOiTLQcMM4DUKq4iPhI5A1b+MSn56pQicN4/btilX+uqVyt6XR9I/XRZIChCgeBNCafrAM/JKeehEP4U+o07zP7YzW53st5FUKNW5LntKOvxNttumOgqP0DJwnyZtTD5CnDF6ZRjopHF6J4fD0jpnpiY8grWesogbQl7iR4Onaq2bEl87CwUhOMVQg275lcosDWb1CQLWuLkE0HOCbqwqUIfUJMNCnQzP96dfLzQy6SjlNS4XrNEf7UQxlbH6k9O2cTzkyC4eGpz8AlO40BAT48zLS+zRrlpe/I/Wqxg+w987u0ATS2xf0Vm1jlcKpJIFz18ZnwIeZlwG72pVBlxD8taVvULOqVNBz0b0ytXSf3ZMzwljzjAENP8LQgOqocissnjo62AEYnna6aRyxJOB6zktkUmRg9zSjFVH9ubKQJj+KKdhvZa2cdvrgw5VgvBXXYHBQ09vUqoPAJCb9wpmvGE4GsX7vPlXD693Dzqv1iASg1WhGs4LnjhKnnraByEJ4IKjw4esy3PugUh+vNw60UmiK7QnU09SW9mhn9JGoCMV7lT1t3d7PrIQM5e50HVpsQICzydu4pCMRtmyGu+0YEBV79d8xbDxLMWXdkMLts7qtydo7aedQOY9U3dc+IY1ys2zWkZZtijjXi/lcdK46ikgnva455OTUuhUL0z6EdkZtC3QaeF4b9r9fv0ZSX9CLndiJmDnXkNNdoaqJNhXhasBztTbMYFXWg7mkYdOx42sGjiU4YuM1QEbZPQqBmdZRNY0yGY8v5TIPyQomx+dCZXlJNq+uwijHy8nKmu1Jm4GJ+WlVBYbrSxtF115WNZUNra72HnF5axPb14OLq1VeJBEnzThwcPeJGE6cig18shGo8l8CCqCMOhsRJn9/eeo3L7nrD4/ANUkY2OW9zJBFEk3qaUqrXUM8SvKJ0DPPZAjqhxex3KqjsMLhEuq8uC9yrj9pMlL8VFcrwGcJCb4EuxbJJpU1LoM831Oo3hfjWBjhA9AXpHFDud9xaA5giV5rpg7/tnVhc49C3JoShN8eUWhg5zChJFG7Sf/q7+pCxre/3/6+yG9mLcsPy2rDirLzTMzbUzlBvdL/KOLqxMk15dC89XJ4c9nFbV/vHE5mx4+QWm5PC64PrEBe7+SbbjTemno6Uq0MOR4Oancd1oz2fvD6Iz9UuX+YUPjWry+IoQzhBlb0xXX5nSp90eZp26emCzIopkHRetf9DZDv+e/rbUVy589T7kpqbPj6TlJoCaFd9dCktJXtDzqcJ0MbXEnnz0zZ/jRtSvqcphyUutL+o3PbqfN8ZYnLrcbyIL5Yvy7dY5b9gwZM89Wld2vwFTTe545+MBiLySLRXiw2wks4DyfzWtO3MRJNbTVANq1jdxkruR5HFsmoeYPVhMMMHtDeU5pVQC5c39mTqr9S4rdNdCtbkJEBy9i8aRvdQiMbnuQ4u8gKmnH/I3qmgizuiMJ+mHKnbd2vlhG5QzjipshyRHaAHdXU62mq2AlUEwwKFXGVNFcu6tpDhw/cH+gA4gGICSTqwfXBT8Mo5h2XEPvUfi0qOIVsZAY3vIAPiI5/zRDcHlfZ2Md+SYE+HcZHCXiiw9cCHXDqItiFGRvxK/1ri5Fc2pKR1CVE9OCdruWxK3T9TLaccVqh+c0VsJ+cl7w6ui6byzB7jHxLudAYyZk9O+Ro4ZEghMG6iwglY001RAZVR+1AyEWh8iqYMOcPu9fhefKekqUaLyaA+Iph5KUqEHK//2mOCaZNjZ+DAJI4rfcs7RzIg57SB5I1yk5lozKkAtbpoOk/0ggYwCp4CwaDhyD+AnaEBWimfRw93CflwocUzLyB4eq/wxq5FmtVqqQxUth99t+uYBwrGCwSNL+DB4dBAMHfwCP7snwvJ5p9+32wGeVVk0Bb672RzFiIxTN/uugwK4O5eGLa+zNwLxqRHWjoN06Hzj6JmYbsDnI8g6BKba35v5VwVe3gABz9sGxFrkNbHcME1Ao2nl+gHA/JvRdzlVV5F7dHsZJAV3zAuAUp/0+85e8pUDEkn6TM3uE+ewWpJkh3RWXmuer3AWrvHBPYmxysMSx/6ggvZFYYMXIOa75soeVk3RbeXkniMOIdqD8+HiG6vwxTpmHqiWmr27G7DwsSwFIyx1Yzeq8cD0aezEFDSXPh5J09jtaC4PjQU/DVI9cGr1TxEYNsNQXr5/R4xkMschXadu9TdSVX8JZVTr1wDGTqVRJWPHmwGQdNJNkReJ53dQ7h62BWMwywK0sOKjvBYyIwfY8eObWlVT8PW+SJfOfai6R0OBPC0mh3uAWe0ixtpv7j7ow8BhHNN7EEYJiqmQXFh9DSmTSStwtCM1L/dwCQPmlzjpeWnMmDpP/hx8i8XP9WF8txQJJq1DUkF+4GZmSMpTL7UOhKoaUSIl2FBbBqaPpaIITreCZxq3sGRiqZSvc+yKp8n0VkFvKs9QF4J7Wiic1ePp5A5WReBzvXOypjJpZhQ/IIIhJjQ4U4zOlrXeLVUld/sz+yCQZuspHSeEEecMHAdj3dr2pIDNUOBD+ArmKLVhObwN4J7Ov+zRZsV21iNkcBH179+vDFDicYe52NAKOCiNiQrZAHT27nvt7ITrwS7DYkIiNq/gWvAMUJh+Shf1G4hTE2gXha6/sn7jxIq7IV5coFFq1hus1rY4JJodME/Z1p7ntoP0VYEZM9Wv6RbGXyKcQfpGPIOPWCVAFBu8XoZeMGRiGUWcqSDIj9nDnieLFPmzo3Y1RWHfLtgWsuZmFW/56eXNn/VKPgEUsPor4TGyaZZZbHbTyfxyawhsfHU7Vm9i9Rl469PvLBkjhSu/XFAkO6rYHzsPiCfJ2TzOyyQTI7iK2/HoJGPAUyUbSxa/ZI95KfCYNxZSA/MnQJXbjZa98FZxbhXVeKTmN/Bg+1uq1d7iH1OPZ+M8CkCbd7P89RTKc6poHJtb4mk3nOyb0HzhvCP/DYzWTyW3PDDR5igifF6a9z0EjllxU2rLbnlcGyzUKD+uQIXxe981QyawVXeHeSw2HqdXEzCymz1MWkK9Nx8EG5gKA2KML6YfplY81qvozqOaBU84fUA+2fOv0ZmWd1HhdK9batzfiVwzGDpFDD1grGAcGbAEhHtr0aDAHsoc3+jXbXH/6zXQgQE+oDgxJE/kz1/jhgPc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194602" y="990600"/>
            <a:ext cx="9003323" cy="4876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63892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kern="0" dirty="0" smtClean="0"/>
              <a:t>Performance Dashboard September 25, 2017</a:t>
            </a:r>
            <a:endParaRPr lang="en-US" kern="0" dirty="0"/>
          </a:p>
        </p:txBody>
      </p:sp>
      <p:sp>
        <p:nvSpPr>
          <p:cNvPr id="31" name="Rectangle 30" descr="Enter Chart Description Here:&#10;&#10; End of Chart Description&#10;DO NOT ALTER TEXT BELOW THIS POINT! IF YOU DO YOUR CHART WILL NOT BE EDITABLE!&#10;mkkoexcel__C:\Users\nlarson\Box\RIDE Knowledgebase\FCMB updates\Chart Data.xlsm~~zzMG_Chart26~~7a23a04e-6c8a-4a9d-af54-fd703848a463~~636415177180052596~~$B$14:$X$15~~False~~False~~Falsemkko__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TkYySLXg3TSIe7gT+Jv77UvX/ve9Z7PvWyxo5zjO/XD7WUdUH++djXyjiAfhYXTBearDBWMvOx4w809ygtPROYuKJjp50A3Q3Eryb+vFVa3JSsTdZtrKed7sY6YKVU44o1RINMQq8cIawD30w27vtt0WG6tmZyJpsFNwKT07059j5T5srSowOqeOHc5n4qrCMeEN0d1nTP1BGaFgHg8tKAMY6mvVBbQcpBT1osBHY+UuWyLhAKdHWDAVLNZL0dW6LoA9NJilmTZhFyPFubNkDeOulVVxgvSl/QxbWw27tjtosPMouvHKz/FEn566SgeFycph7q/Ok5YfaAVH7/AyBoOmu2ybv4rUPvzScIpc8Q2F7Hkj03L0i0EAfnqogA+eFd6rbDQWBqruDZdsKCIhHcENHSTddJMl+LTqviO4wtF/cyJ9B6qo2Km+XKKnPCFC8Axsl7s/xJHc0xIomIL8ESrl1CGov2bq62umpPZnx8m0apOvOXYMA6f2bNp0afPnhXN+Win6JS84ef994wtaNYvpJRKAhGmypajjY1CtIpczoEJCZ5vN+s+pK1M2q56OKWMa4YgeJyX5zPwECmsmo7+69cM18Bd8Y9vME5aPaef4az5TOYqywEA6kLWmUELLv5rbOd5FcPVI+Va0DrEmv1bsgYxkQqCY2yrREX1Up/al4VYKSqmcPDXy1SuIXj519+1XU0ystvSKoIq0y9ZHnicJQQga9MwTWN8buvrDdCAn3BNgFRF5eBe0mrHsjbip4q2QBSMQMO6x3E0D01stc85j0kpjw+0qQzQmoT32i+ejDNLiYZTTxoRx/NRKdNd8fGZDN7MY1f5MRLAcja0GOZLT20FTyJbZds2A0xGyDqQX1aCxoANjKg0aQyReX/5T02Y2yAEanGSoXX5FjcORP1aQOFSttBsGhRyxhW5uHs9SdZJSXG9LuWNRA+uwo55SZk9RQ7XtB0NvMwRhQALhy/gP3b7D4gnKdpIv9qq4BNdSF3KZaL9RlTuzZ4Y1GFGgLyysgyrWBVDrz8YrJSjZrbAok411M83ESLB1NM/rmYdFkO1YtuPvN1eFsyd8lcriXQDgKz20R/OnERCRFp3hCSGNW0kpvg4uww+U6sko4MMpd88m9VgzyRNAp+gEam1ms5ExsmPHmJ0G8rf6zuetg2UVmSIgE+jplAs8WMckope5Ofe223jmb+gkwS5NLP5cQREaH/zNXDGqEcyRNE3QyS5rNa/So0vRC2YcTJfdwT/K9QJhu3+1fWdg3mEmjuL/wpbgfzPP5MnW3lOhsawSygzu16swJiK2oddHh4dJzC3H5QxRDIy0k1Ed+0M0aUD5kJbucfVqZTZ9qK8ztQOi7IEPo2DnWdPKLeoIW3bZC90jP8imYcfHrCbUzhprG//ms9Px1bUgIy8NVzZts/6xqG9lbRCLkW9ez0bsuxLPmNALMSjZXPVeOyiVR4SracKzpuFDiMyxU/+41ucFpklh5bZVzm/mDJj/Wx7+QCrHP5I/b84BZRYcdfw8cw3DnhpTpp+SJV6p4x2g7yRbyCndPSRd0kqo2piUJSX8DpYSQQAYwiLMVNQE8qUyi3fv826TNQsGZf6gKKV4pGWrZ0PEX4TcGk3vRXecgw/hbWMzbVPUoK494YUyLS+VNnLU2gbNwYh89oDevCZEPxeT3VmShQUJ+lS5s/EC+iKwQyQWre7lLlaueNPW+EMtSJ2/xB+An5gGJAhVChmi36kurzNk3njfMIy3YdDh3Q3pNhBuUkKJmSyUMk3zbYN3vcGwDKhGqYwDupJ24AL9Hqk0+Xs51fhYAdkldHDepZJjNyUlAQ7HymoyC19aGf8jQ+BVIHfpVox9R4liDoA3Kj08xr2FWjIGp5wvbZnyf2YWzNon3Lvme8syB0OpHGnU4n6cFRCl6J/oUyZGMLh1W+ZCRMlC1fALRZlnUZtYeeVcRELa6yoqBgVj2va35h4adQw4bBML+EBz3DiwspLU6dq1HdjgAOliGpS2i2YpEeTA6QSVuF7OxPfAfcLj1UHu6kyE32EqwEimqLiUnKNHhB1EgzmAlDdfm4+J0l/EJ08YMMo/RJUAZiMmXdI6t1LqH1nsYL35qx8KIwMrbKxCANsFwh1Vh7pzJexB6Te4lTNeymw0Rm0jqAInoZaT5epLTo6y4ZWGdbEK8abUrCUGLnkdXrnYG7Ay8z6KE/v0e21fN/n8T8/c8+rHKpKFk5hke5+gzAsixqkjWnjtRsgS7U6cx5azNmkqrOzgglzVp+QoRVupWYirn1/BBAkRhrKJaMGdX3UEk4B69bBicwfh3TEjNm9NELROFNi4pTO8u4QpfZARmTpfuxMqsTLwMHwZJqJQjp3shAw51otXKIWJM0s+nGs3NaBjcIDvCq4ljzz1Vywa+6d4ckslm9LirXMlyMB15IKyBW+OnTG9Mp28u7gq2zzjFkikeOdze9ZUvnh8Pa6aIijTB2ivuBBk+bQ4A58wUy3uGX0ypPHGUh4rbaTDPBOmT8RWtpnTde9/pMrm4R2HjjxYK4WRJtT9c3bLMdXIsCfJD6avOpHjN5TRnawNoRGYpoc1jfeZTk7blcP31IElewBZSTk//nhNm6T+/EoWijPKqXAjmsfaf02tT8fB0GT4KThd9LncbOJzmiQgTK+HH7KtVt7l3Moq2M5qtIv6SAdB2aHPW7ixikuJOi3eCBtMeZRYkAxBdMa+Sr8R6KmpqflWxrJCWxYpncmq70rYOQIjh6V8ce1BPdGGn6oMnLbzL5c1jFQBuEzzJVgaFJYn7dgctzpcRnBQnpkSZXPIre8qmuRCUminNzPIcFZxzERMsZQbrc43wWANgcLZTmqe4Y4mRtPPSpUdIpCMcvzEgImsUKMcDxv+UsH8hg4Q6KIcyH1j4LXAYERwYNagGI+uIjvQjZUg31JndxQ8yl8O6rg1TZ1MaAfyBV56juUXrN2vc9JHIMQkTfze88dwIvqqRfwWdexaotYNlinve0c91HU+h/lWIA0Jm3oGaRHxEA46f2GaXHLSDhozlqcFrfopIuB5BPD9U44q+UaNiYoezLDYeSHRLYDYNL5Iq61guQvSfbIDwpgY2hWCyAo7y94XHMolL8bvTtZJ21cH5yRitbW6Br6bcoNs82n+mU2feYIoMTYdOly5dHXT08yPWLibAoNR15VtkZZPYFnWCNN7qmYlArPxQDXjVywH3LhCfkLcbocAV3ROHYnFh3tNd9+ERn8vGyc9MwBhdEpWAMFopiOHB4PIeM7mpZQmrNr4pgRQW32MAFh4m31o3bEX+9I0G175JO7G3qHCLZ+robkbhq88ulh6H1pW/YgnKAYaHkpNEUSAEQ7k9NuBwwunF1ZtpizMZsC6gkZRJfzpOVdKF2MTm2Ak0+whWjqo6JcglH7Cwn1iVZd2AGO8q5fjHSoiVOyU0eeAmBeH2e2xdSloVP/YL2qu03EILnVsyAp26DVwKOdf222CBSEd0ErRfxEbo20gY8JhZ8koQDanzsOvRgk53sz9MfU2urJGtzxQIQl6xoKPa1Y5nUemBWFA2ogrJpvrOVp9jqTeWFztTULx9R6Tbs85O0TOPXRsTCf0b0RJ823zkDlr5EqNT49DOLmV1iI8TxkzZpYAKjhSF3gaJ4y75rWGPXrgjPxNR9zgFQJ/Ri7Xv5VHsNDJQQlUrmYfld6U//cRmjI0RB5r1gJ/K3GU5IZHTT89cqlRoAA8NarTc3VlAm4gmqd7OlvMl1yFicfXxXMhlloq5Hy7MzMRwWbv8V8DvuLBdm53VYoPdd0hlfHbT36pE952GQyp3iwzXcS9/qzggE+74Qdb4Ei0RRJ3FAMxWW8x+4MKGwuqdePu3b87jm+SXGXnwMi7UUn6mXx9CZdXf7f7OPPmM416WyooEIC9hp5Jzi9CSMEXNQ5izQcnm9b+WWxb4WQOxV4uFjT9uKBsZJ2Is0AGf45EqyB67/9I8LZb8jr3AtkbEhYr5sPKAoO3rzPU2bcS4zPKTiVsY6G+GVY/UVmW7Lr0EROzfGyZ2nvxtTJI7sex8Peyun3RAqEVP2IxT5OkKV7nFU5LGBzQSwMt/1EdU3d3TXFY28ZsVwMCeVDJ9fc4xLChR0uGx7f34ceb6pbgWr0WO/KFs4cFq26WAoGEspAXMuE9dQPNHJDs2uOkQPrkUQcW/WgWINKSYsZEtlUfPtsCMbfzSi+6zLJk/CoUSSUEZ4kEJ3bX1HQgTxYKNXOwKH90+qHbolxYiAS+WgGJsS3hd4nEoXPRcwC5mNc04cWz0i7DHExkYx3mzV9qnnuyNO8C7JafTEzsXsiEPu109WQ8hudHcABkFtYOBFbqPAgBqDyQW9he7nJdTRNFI1+O1kyiAvBCHKaEdi74kduV3UZPH4vqFZ/jdOkdjDMYX0rpWblJoipiuKh0n4UN1cUUEnr1roP4g4TqlzPRsU6LYgqSCOyBcjXmtetG2vZ0b1UMxkwntpRnCKZx05EDMK7SJ9LIegeDil1X1BL9G0mCDU+oJGGYHQ65aMnFTpX0VTIOMauAKnq+otB51zoROihnH40tNcuvCGbs1GSmMbFkZSkR05nwBXGRLAh+9kUCVL7rU3cTTHO1DwepzaCn7eeX3mjtDnIKtMIhyAbqQlUZG4PZzU1MoApIlPRhpeRkAT0vdMnTiFKu3ktlHNa7Yjc8eSsGr4JjW+Z8EjPeJvZTUT/6J46I6YsQUNuZex83jo661iAKFeZW43vRy5x5yVPC94vQtBOsCWcYt/Q8ZG010thntB3ZTAp1Yb9oNBk7GUso5WTWXvvmlSgBLmbAovYGn4ZKG7RRQBJPe+5RORxoYe/noAuZMfPHyiFBGqYh73O4S+xT3Z6Lzd6Yj/HSCuyI9VLM5rE+XSoORn3nGrc97H3x5H8vbov/NmtkIUcxrN2mMKZ6NtGNYUWA3y6TeaqHijfKgTo+amNPJ4mXCrS9fHeUBD+IGa0fL8+yys5lu2JVxclW3WMkAWNPQN3mR0kvqiSxyJqtIk5U4B9Dr1FiaAt2xcFKMbtlORBAhM0zk81l+VRnodcPu41QHF6c7QfopK/DwTf24SsruDDXtXnT3IPsqRLMX//LpPsZiUKYA4HFT1F6Eo2/HjnoXQFngzc72M4Z6x+abH9nV3tSszKOoKieLeLNEEeBAYjQNOtrhYmK7bewxEVj7swBGTh5pyfQ0qBCzA4T9Y0dEC2lV50HMawtAhXJGOhI/Tytj9F/lpXe5qnAwyq55erp5pk9w3369bvls2Qhu/Y+UpiS1ZMyJoPaBWiPxWa3Zrnwa3Fvh4XJOVRj+1aKp6doSCGghSRF2wpB/K1Rgnf0W21Fsg/8slfvrK7bAdS4h7BePoD+fH983/7yTsy5WunSTO9oB6BZZAsticM1h8xAtp07PP0+gWkC7qr3q2MkmZ5sZQV4CekPGX58D/V0kkvxMiIsVEouNu1tXDVKk7a8bLtmlsa6EMKph+6huaJCQ6B5hw7zjcs6tvJdLq4zo+ZbXzd3IjkTNyFRJUbDiIBxyHGoegDKexYsoAyzwzLS+v9Rwm0Rle5PaLGlUAXB6Ru8glbZRBLwQyml97PczB7YauFt1TzK9Z7N0D3oGnYFtbOUSHuk9DPvgpfnqSAIMkj/gZYbPNU8oK0A6S/UzP6XE4cF5zQJZ9WNDpmx7zu9eQ5DOMYzuH5ObCoodr3R/WHBpg98CnDg2REk6c/97m/v/OFFaOnk5I8HnN+yOu1XSa8vzyymP51umhAtfE4Cu7TM+o6a18Z5NxZdmWUP4tgsQJtvpbSi7feFHkZUyvHDmEiwPIUmJV/ZP1nDjxtWF5IiQjRQhTguBzP85hdeFDRsdrDjnIzfksHB1p9pg8TqSKVkAa4faO2Zw6D9TjMgcQsVYeZKlUByNrCiphv05BoJxEF46SRaWcb/Csd2P6T/FGLVbkd4ujqTFm0NsCJ3rNQbOFGUuOF8bt5Zo2YvMf2tFiLWtleeYqZY6H5zySUdkvhFfCZsd+xWqVOsx6Ek4KSD9wZ/K/pk1VxSDoHhOTab/SJTyMj1DO5P4enXI5vUnGWTKGZkAA2x5CsXgeOwFUf8jeu8AqqFRKoDA3p1FlY22kvV30ugXyOH0xX7kxfHriz/DjrX9M4W29xrZOW+2UoLzkkjzhogA/3Sr2C4VH6ym1g2J986CEw9NbY1tiV+SZgp88UUu+OwBy/Q8bJnWCdrIjcc6ud8JMvCJ69lmiMSS6MINOMcJwovISv1ndTYG62lZoriEo1JanuwnRUaQaBOr1mAvgEZurJYNlSQ4/Y1CDf6XKR7hhjE90RF+aRDahuAihDO+EktJ0P/tayk02EeHjajgtk9KMTJSCKWxzuTKNCOP60F7ZZqOygO5sRbmZ/ThG0jFmgndQ4j73yUfO0b9unRT1cayKl4mlC3+r3a0JQ5TVOo1DPGly8BtPwwdb2wdmXWia78CYG++hEgjigvmYlH1TsbwHKeh8KNhIwL0SUaTGrt8mSZs9hjsV0oop1ffax7FqFHJBfdSR77v9UQ/tNbbx4ogwzTQLTBp+Qaj2MwFdf6nIHuUkAksieGC1qGJzYPYh/IBXUgWb89xKk46QHKbXYrLJkK9JRXj2LSvd24qaCAymykq6jqVegV5YrEwtvGqydwzBuBQwQj3B7gw8IO2M6e4eEGg92iFwnb1CjeWVozD30HDXFcOGZVmk+o1jQQfu8BKWFWAOhUQ8XwNZB/OZX066kJ/gvOioAz6LvbMcdXyOphAW6dEATD/Mds6ztOi84ChrNxV2GBymZ7K5A0aEFW+OcPiVCK+6mldXy5ua0NSCjBwGHvZj4zwKXRF3UE9LTvRRPOPFNUEynz3gea8CVyihM6572x1jGu5Hv+YSW/iPqIlVxcS06aethv/RNvlBcQDA1iUplpUo4MyUi6g0Nx0wsUdhRnYZIX3C5SYbRiYpTBLROutfxUzz+gmXMenCW50D18lYAoywEXFEk6ROSWlnS1YG+5RG+JzhWUfX6VoU6Vodxka7zUYX/ftGWeiyWeijzzXwj7nY+K1NUBqW+uTJx6lMzWth3UgrWThloJynswvEHlIZj4NVna43kA3DsbmveKl0ZMuBHwz0u0/MAZyvHNiUrbVSoRZ6RcmOTP2NiI02TL83YsAnZ4qx7+9cGR5KxokLSnwvTVUC0e4MZU8RGQVMEL5XMilSlzTIv+ig28/fMlibkj1128fjG0YuloUu5ufYWL7VZkUPwxzH7ngwVohqkPkV80hOWzlk1ZdYrHzvO3Sn5EH/6IupWbMQ+ywX24rRLNbA/QB9ZlY76P6/ha8yviU6XjaBYRSkwLlaX4WZJiFJGENdNvn1zmHBkloec9xcc/0a555E3R0axBNtZlr3a8Ob3qjWfCXxnzcEX5QitXN8Xa/8l2VR0apUIGNPcJRjPmE/QrdxIJMHBOVHDl9seGhHe2c2E44JnTWI6gAfaie5ChHt4EfBimv7TGhi6I8pM4BY5opJ++18NsCp/dtgRHaNr8r+7ECrKnxkZhoPEQ5tnCYRGxxJgXu2veKfOFypG0TbDBBLlroE0goUqnI1ObdmJko9mEud9SiZpTanQqJdLDmjTQsKa62p03R7N5NYCWcdEysUIutJzPKPMT2bmYjOWoZ/5ipnaRw+ljWGzv9XeMz5MmrGITdu8o4A0FkWBFhUh3/IUpPqc17Kual3zdhK931a97sMMyyiGaPBhSamV3yHf96R4TYuNLAJMP2WoTMzDJPaQ2t3wyb4vnBy0Rrc81KxAUTrdIAhpTgPT/rUAfw83jdR9iC0FnMB03pBl1OAuoNS0pAnBUBCdMoR1cn93mrGSf8ILy7fPGLisRflImThNOH3hNOMzBt984eGUR41OQcw7VlDIs0dH6uuQJ/LixnqJ9+dQqZZzQuiSDAuj6znFs+3joIv3+zb4im5Ybv7oxMF/hgbJwuVTM7jnBNVSSAhC2hvY56/ohU+ktX4dXMrqBkc6F+HTkjKkoGHkPK10tx0cqhEm/IBKE+GsCYtVpK3PPYkm/AJUoSxIX8e2sJm7JCGra4aJjphItF5BN56BPsIeT4zNgF6oxdHl1nvA5PHWyKaOaHrV5ytYEfMMMGDKxZJd0l0i6E5CS4a/b0B5YN1awMPcIC6dt+icebDX7V5W0Ni1uhK8NWo2f7qmrWSKx6qm1CEUkF/lPaByWIfhX2dSSmnGIajBUPK7bnYOlBTAkNBL0R1PQN2ZfFs6HTendLT+quqRh4bREU+V7sTmFaSXXoTe1Mu0xoGqCW6W7j43tBFCTGzx8a/VU+raVSBZ6spVCgUwlEk/kCgxo5m+DO7fWiBEi2rPXLLEq98Dd0Q6PTOLtwGF83kHC12yAzHftCCd4+pEe2XmDEaByaawI43O6yuj07umaCEZOIKqACgNEl8V8kwiOzBSYTCqOVZSMT1Esehz3cygEk5SgAzEwyE9B0n45aT9iolMLrxXpczeYUMxD+ikNAX44IqHQMVAmiu5JqsQOGmGpn/6cNRaLsD77wz4FAVEb6Q3KhbICoPJiUFZEXLjh3Ci8cysK1fw+DY3Ief0BP/Zdfjr12+JmQf9YHlzPjjWdiFE2xlfgpQV5nj/AIaXTM2CSNEuKS5lrCj3FQHntj1bFr1audQSEQdf3w/M7GHri47T8142aDrgK4LleY1gxrOh+pAt5GFOtd0qEGSGlJr8xUSDPB/HFaCc2hXhdaF9pnvtIhY7hJp+tH0hQpFSEQQRplb7S68T+lg69tWIPEQMDupJrNKqLSTd9WtAV069a4PK3vEaPnz4KC1CRJDCJIZM4caBIW5U+JZaVEMg8OT9g2uf61R7DMzZJi0/A8LcjSBierYYoYgwH0QKyY4lDtE0mS4MJKPwhKG3Z9N+/KtdFKFxvofPUBDoNOev0C8V0XxSiD06QbzSJeCHrzCCIsE7jLd9/0XooLqDRq8nMz8tZKgiwm1qZVuzXzaUVRJknWNLn0keGm4fH2gOwrHXkqE5nOHVFSbSc8cGFVioxQnGX7kQFRKtFWjgwzsaT0aQD7cVP4nvGFM28SoQhud3EFKFeL5YLhpax7AoXsOtsNstwvgKlXRh7n0XtF+IfClX+OMr9VO/olKB+3looMhfQXtSJ2MlciemiaCosltRlWZkbEYy+jngd9Nw87la0Nkeak6dVEaxxwXzRlG8Ge+ri7m49U6RxcA2+LrgnV4+5VaZ84e2UmGwD1/slJFZ8/C+NFWH4aPAyu5Ye50w2xmsn2CWcjLuiIfmqbmkxdMCydqx7pi67m9Oe9sMMeuUmfHu7OC1xSuQTsUGv63bU+/ZNPERPd7H9UPGzODxuaTpjsv84fmQ904CWaHiUa3+mu+BT5+kh/FmU+BqeqwZSWKgUBej4XfkiydPJoT9xNQzS7fc9kv/yZuVWdReUA2GmpPkhyKOBzJ9gIj+AoqRSC4LnLK/Bb+PE/IiMNlhsTxMhHA0UDWbdx3WnPLkywZwfalH52zF6EHCIwch/lv5BfQ/1LT0kQ0oZm8i48+vXV61lX+SFgM9nelWfc26ZKw93qX5xNTDHXeMbCncN44dl4FSX8MZzEcUaJ//Jtv48V2njl4pNIuB6Byq4qMxM1Ia3OPPPp/J0njvD6ITmFe4m6g3DEt/5NhrZn3x2iAoAFsEto7bVmlvWCxZcUJl0R5jIV2OlF3FkV5sRbHRK5Sopm4C7gLNyjOipNTxRuXlYA0qmSzk4GRB4qBisYnhW2ryl1WqDt2Xz5vkjWoU44AJpwUAzI2rqBpw0qwlLLc4ksDukqARWrVrSSY8t3RdBi3w3m5HbQJkbsJWfCqSMscIUEsMEYQyRbGQbZVPLKDE1H6Vr++Q0fuoh0USpnKQBmz+Wg53l6RdiEKoi1JC26jT96uMDN0brmaO8IsEStYhzvYn6J1Vjup4m6+W4mBeLTUEQGxWJ2x0Dd9U+4ckb580c3KX/m+EhI4N1g+9sT+AJ5Z7eIm1FXsTiAS5D5KhhPmP2NDK9QXYamtb73a/Og9o6iXKRpL7/yQEAyaA9AehVFPVXR1e5DWO+DDz37IH5dLc8xU0XdUIVHTg8pP8oFOSRBSoS3XBl96MLR9gpunHCkfrS2o7MnA5hHbK10KvcQ3Ge21nX19yHFJ2IOt65hDdoA8fVFXuJRPy2FCS1pHuJTspXmtZrFMAOY1nnJwDb38bMSoiCHfvLCxszxnCDE17u5Ue7gGTrHg0j18Iw5xko44HloaWhA3U4L/X101mpayY0xQwZ9H2JQzQNN/hTAWVi8ttp0RncXwJ0bhmx633o/et4HUo5U8XPI9E+EBEx9jh5hn5XOPIr1qAisjl/pBYUqehCALQnX0eKTJfydfV+/aVCdc3NKCmSImVOMMWZE8EzO2hEiT6mt65ihxXbYkMeKj7HpuX0U2yagWifAn8LdOgoVtBJW8gqqGGT9c1MhU15+dmz6FLy6FJoBQLJewNfa2TitLfSnDCXL6cB9rEDqpX+qXK40BrOXOVk7pcSCpCEdSFfOwSjKV9fAl7FD5ukljavtGIuerdfL4o2TRvp8npm/rF4XY0j4ikCOoi5n0GMgSoKZRZVdVNXkXXRlO+sGbbqN0DazzYVsAvc/Y1O94qqGfwZ8hUhKH92RnqInVXzP3RCnYgiRJsX4pO7lsCQMY0OQc6menWV5bIauxdkdGBoUZXmSGerKuBUzwkZHNt3UO3OblDNUtmS5ow8MbHBuxWGPwnq8aIw6AYR4ULbBQ05x6KeHq60ogF8s6ptn4ad3mGq3hsc+KpccDoImNWK6vPne+45IVDJ5FdujOOl6vjIAH7CzCCe7dQ1loQZDergXJP9jd9nMaiCiwtjo0iPpRz7NY0KfTncBdM8rgBno+J+u+6wxxtuYdqCB9iuQEMVsKhwm8+3AhJ2A72wF/IHq1I5DzFEUF4pok/igY4nU4MT6cX97gz5kUrhI8bxC1xywhLsex28i0pXbb7cm3BlURoGXmp6DnT5rSfwGjTzPpLcsJjMdOZ1KrAUkBXggsqhQokLcnlBE6BsFDurD9p1uOsY4mLkf5wKe8bbRHIYZjhqHhpi6+3czbqXa3fojfTHF0LBmOpQuujxwZgvTty20Edj7OxJQvtbhxahvcdFQzSDoXr3ZRI9PPBONLV+ox3OXXJjLZ36XUKYxo8i0AK+zodYXY0jL6PehHEbLKHLPCd9lcULS7Sytb9BBo4QwdJ6m0fXvdg0h3x1Wmpj/OtlIUXKT7nYX75JP9TspZvnoat6SznSTEY9jF5JVV7bClS8/el6St5w/LicQhbFk9nXB4/PT3l4+lAvJKjPu1GhGFE2YyQ9YosrrhZbdl80DDGBgiCX4L3fvhXGBxXszxzhfh/VTCEyhbMAe5Z7KI31ykAeScr8536FJhclFHRLpLDip345NL/I1RxcSOlL4ZEDT9Wu2gd/HkIcolD+stADj6wIr+l9wEtxvtaixRaFukg99XUbQQ5X24d/Nsw6Bzz+yr5KnfzG6yDopwZPTs7b2V5WS0kUBbg5yVm2Ive1p0atBSqYahHeH+mdNZGXlSweKIrFIz7miljgnA9g5L4Oe2onyqDkd002BTHVvDq4JM5l/d1iS345JrchliBt98eegUH1Mg7c5BH2VAFP7h+wcdAPqjIxChqKMap1DJrwVCD6oTo4p7FcXdtnz/02LpzBqFoggvBjdXYtm0OleitdMPrNAoWK5aIL3NQgVeL9qX/Ac3YAozYfENhaZN1ctnKY+KkFuEZCALyr/XMkAliuE8w8Fhy4qBCj47+rmYsxSYjVe1KMsUZnTnVLiPsAgvRzxEbm1ldIOWn4A6XSQI8xay2FOQUrDHJCr4/Cpml9I0d1Qqz1BAZ8m0qyF1CyZlQAmVH+37qYFoL780z5qYyz/ppEPHFRTYGC2OtiGfS7vWdbj22qOkg3drfJzL69+8Nefnh4PeWHoKlf8UPr6q2Ahica9Uc9AwfMRsPjGuEg/CJPOZfaetgoOtLESrvewF90aZW8Dq9+G6NKX4XLDczKzO95MpirDlFW2V8tA7skEnCIyKvcnRWCNuoqSscIXNQdTsRHqP3L0Y3fovpiF9eGLbbp872IPeCo6jdUZ2tUfJXqrrd6zcxtt/b/pAe3ehOvIrigQDScQHpkr390Me1UqhgBVZOEuWFYaj4JBqEAAuVjTHQsm3LPVg6M97/FyqjXXZ65bHge5z8n0kqWutFCat/jcR+GYQ95ctGD2ej2TZ9LpmVXiStMaaLpCDFmM/9eeB8VFrBgjEuNuEdOgMaAQ9PPt2Ks4OdlMrCU1Ml29invktJQs/Djl68yc8BU67eBwtf2hix/LZVFzsAHi+wTk1A0ARHFDarFNwh7mTeIcCTR281Svixm+Iin+thniDX7sr+ONvRq3JX1orsOGZsYz+4Ld0N9WN06k6FJos05YrTW4+BbDYCj9MlC6QenqG0LFTsNlJHfVtQVYNAYXDF0vIk/qSsEGWqjMA6UufMW9fQS+mstyHaRJfqC8YGPZlCWhpZAjR+PohhaSzKOxndd/eEuxxm85EFypCVRMB5cSXJCHWh9LjRNmh8vs0Pp5Ltcd7rWVILKSXEJLmE8xFv+a5M3LERlOL17hstPjV2fYMDONhzLZNduH0AUTpLXxBvjtthTJr3vdJQXzVDz9I1SvB75XbE/aVNJajawCIzH7h0btXtwKeTkBfDncbwpf9xpQ4sFMgA3NvM3tfUACOMpqQ29udKXJA+uwA9beKtzqdsbSA7+NPJxDoz8WEb9TvqDV1AfDS77EMPUrApvh0XP77OTwr75+pw13m722WVsDN7GownuBD0e3ggJrHekTtffONIAnrVmRm6IFRmyxg8B8WG4EX09bXQoxZHzwJu5ht0Y1TpKpxmq9b19Lq8cXZTr5WBoq9putthtEX3VIGaNxoFAOeVBV2Rj1OITv0xY/iECsJvyXenx2lzaVnFcxKSqDNvcKgabyKR4R2ovEBWMbUnZo1ng1vlsJtAtH6LoZDqy3aC4VXwxvkJjS7BA05O7N4QuPYRLNhCovRP3P3YsaFEXVEOqdfxb1e7ZP3Cj6Gln3O/M3eoafFHmRKpYKQ6GtiU1Ljb88PvtJVYeHvo6s39ajaHMcyzl1dTVTLoMstq86VW+x2Btur3a6jyh2ahTlGxz5BgWFIzWUnpjuEED9IqTtE7uR5UTey2ISTDefV2p6JAh4q3W9Ic/5hZU+eOjY7zzn9gLHcASaxUomgta80jmcNB+3sA7I9bFKHziGAKr43+tHHPWw+Eu3MULuop6nvT8wVRgzGbz+JkzJqkZpuoCsaIGgarVZEk0PYfoE7HUZ6Zcm88aC2Vk1Pwq5A3KNfMzhGcbMant1oVhZzCacFmp4ElDsGmxqHbvfSkCglkzpAReynLffKFSoahLv5FCuqQI+tKe6ntv2he+HsUVEIpnVnczXhtvdPOf9ZqbppNHlobRu5zb5lnXEzwJPJ8blzxGIcR9NsxJ9XtQCXp2+ob0lNtxJCJQ+TrCAl/AkdhxVUbDiSsdkZxBLdGzCdib3ZOtVCnuqC5GHVRMU6t2i7reSSOPfpJpV3H/nkJh9GL7oHUOBGNetpYFHLePAKN+sWXMpOV5HRZZLNZpWM6/nn/rD5wehZ3I69wcBaUuEgI7xMn1/gV9UYDl7a5Vz+AaU2zLfE+PDvkLqTkxoM8NChmMlrNt8X2jtj/3p1e0cuxqnY8GKpVvpfs9nLqJ8BZLoQh6VbZNL+IDDx1uWVKSc94gtSOOq/TBRs2XVCaGJyqicnkjKRV/Wg8TKCfakgzAOhCgNpBdP0yShLZSXCWqKGE63vJyGc9U75T3ZM5YY0CfucW3knpNLLftwr+qiY77v1S+JPdmN+zR2dk4e4/VfWuLRPrhZPga+MeFUnAG44ObFpU7g3d+JlvZnmrCZEgvNx0xYmYTl4+pUACBchv5q19iyQvtXZbabnGWdVGrFgp4aF2oIv2jltgqNRftEafHUaRGa0TnN2mbI5of0DyQ8pDRtWMT89FBvvhUYqmHmBrmxuDd7ykGz51rXYZcXzu+tyL7JMX9OOiSBA0ylzWFW/tkEyRutZlfyy20hmuFNIctR4JXfCtV1O92dwXyckkBnwp38Chw6D2dWP2oYWd9s/ZX+JaU8uSxLBNnRjh212uR/3NQSX8de1sFWFjrXnCRk4wiG/Q7j8eybT/EfyuYTTxwyC0aDHF3q9S1rmBQ48bW/BzE3CmW4+4Iy8/SRvwL43/DGzAUNJpnxYB1/Gt5tN7PuqnZ7skYGdVbC0d61ENRtF6RXrOXbhNVKuNevXrfNT8MBzk5WXbSPzYi9atgBlJPDGPpcoRA4yKp4jke/c9ib+Bd0H3b7PTVLeX1HY6BfIXfnPbGDHul4nqu4YCimV0I7BEQB5L2kISOqAmioSyWheHwsNhCqTgrtaC6L2LXO6PqZqyHxIibBuLZFS2XXpg44fSPn3r0fPmAq6vBp4XGH3G3WXBA3grI1vh//FKrjlJ1FI+xtp3jzmEYxpdtPaS3H6NMLfPeBvA2beX7V8wcmrZmNLulHVd72sIwZ7nq/B7bWh31V9kira60Jcn0BBnPu4k6FM1ktm970/Iwu63/EQeP+xpfbboRnAoEe5515IJBiviQSwxL/6qGDIDmfT+Zzxogmx7xPe+RU/y8JBd5c7XLDDsiSiNXGfShf40i+9D9zh0hOR2mTGyqeuydDjgvO49Ebl3a7EXuLV4g/6tkgPtTwqm+P2m1QrXGsPWbidtKgSzeep9DmU9otNPg5hzbOStRhzHAfAvT9Ds2W6I6B7C7PFZbuuXFDYeW0BGViqzLYkj7ID62qzv6frOFsk9vfDFSAw5a+Z2u5OfhADfXoNMS8v7Cxvv9pfCizoViE59Go1q+Tx9L/9Enw4HBMUbyMSQLuc6gAIqksRNtf4zc1NkwNKGFQ3sNC9hfSDgRgV8OWZHIYMckKKurzoa6g+sAC9Z/izmJ5XZ/Zrp9v8+BD1mRfFVnTWoCyF3m5eyXzuD3ZFVTPqDLIH8QMeriS3bI8x0mbpJ2SoBxc0TnY/BCCTr9hnMPOiiT1zBVzc5wfspxyo4Gqn81wFu9BNuiAfE1irzEiRBWHF0P+iVjKSq0waq3StsiLBJqdxLbF3yfRcFoK4A4nmJgRNw0mJmH/3EbQ1cUT5PFNaP0c/ePSb1bH9BoWplI6EFxSZp+eiXyQJjQKBMrN685OYpBM0TUcCZRjAdGTGwNhApOtbYQWv/QZo03T+W4bndPkSkToVB87pJD7FjLNi6OQ7ZPLtHqF/rSg42gXm08ei2kUVCggtpoyWVcVZOy9zOHrWkNT+BdeeKdny1dX0CB6yzW8VwnB4542rhboDIqB1U5Mv67taz8BkEUeVoW1LLlhoUqJjoubQecGIshDcQEpFDLgArqGRV/Bp6ZJUTYDTANlfxDsR8xi84UDQtsBLaQJjP4Pbps7qAb9DxtFH8tE+bFTN3z3IzNDHkkKtMLLL8Mu6IHTsdi85I3O4TKTZR4XP5cXe7O7VVNDZToY2J9iPU+6vo7EopXmJVgyy2vUSJknDe/jenwEZ0V8oCiIeOOFbmiJn+NugH3Xaa3jHUZjTrD854Xr8c73Qi8DY/lMRXnenlDIPQJhAeMPZdA2HSuOG3HMy5tjzIuqyUYuH4FYrTADiXsRdm9sv0HM6ql/cF7BN7ycCwq7+5z3PB99dt9fXmdBvnqiS6d6A8vn35dbmR15F3eRzZw5/oXL77TVZyIT8m45Gfr//V3Qk/9WSuME3sPNaVKOhL5zzMUKHnzwRvcTEWlOhJBnE/NeUu4vODBBAU1yaiJSoYjaMVd4jCQTtWdUsQ2AnZ9f45U9IHf8wkvM2cdbvN1PqgDUbKfrYs/EVuDeBhWosoVuCKbO3TIaVbEVyFcQv9YRiXORkLsdghsqOBudDnNtgzgtuGUGgGd7HkZaruOipAW1n7oTkMECLkcod6Hsq248FtrQ7Dec7oC08lu/KeJjem+ENxPUKMVhO+JNn5wRM1z3pAbaR7nfVsDzZu0JOO4boi+HWjqwQWGSQ7GjWtuYxfH+sTWl618MxA08n4bdNdaL5GHsC02wcAcSs9GgJhp9ZFnX/xlYFDDGoMwmKXVc4y+yw4kiBIiKXSzszg4rxJ1XynN4JloQuDOX4PGq6h4/c4pTAiAionBKvp5O6jaCfsU5E7+Ct+zRphxppEqa91IUdMVuxRYRCLrmTFQoQ5Xt8cd68HuSIhRAxWMkQP+HE49UPn17lTRUPd24iMsDL+i7Xawy7bIQg9pO28vlr7JIGAk5b7UQCKRe1fTD6vSrnP1FjeYmxh10SLjwCO6owVLOHUgJRm4sbSgBM6xOD9tIf4fKkFyLmkaK9tBlQ+swwFyCTC0gs632vfOBUaxbrXZX0ySntqOF4x6D0thAv+r2JzICRADWlXh4N/Dz6PN0RUUE0uDMQZ3H9vjfOKmjTgewPIM+qU/ePq1jEUW1rnApdYBH4uhqDJgu3VktbI+muHyM9lZq7jD/0irkfdBbUEZAMluXtn9PpcPb74N2wgXdOY54FXBU1XenVO9Do7Y9KAAXWChwxgnz6bJDAXCnoJxu1MovjFkodGgeTnbM4rvSxMD3r+MtJjTYO1QSfOy/NYiNt6RgDue7NwYODQMol+nJ9b8YEv4ffwP1ttEkIDX2Rxwn8BWbghp6Of547I8af/phd9IzFJEj3Vw+nMwKaIHaO+VlYoteZ8l3RhzZn2gOaVtsckKwm9dGbF789N61ECgahmnqdefvSk43JBu7dUPOPenaxemWMk0/fjwwKef5Yw+CJiQK4klLKRLUxPrz8vxM3a/B6tc3clrEgu8qkJwfvb0MC7aesWMsSyRkCLLDBHu0l8Nt/2KsmuzC5YlpOIKa7q3mjF7xGAelTt4vdEvcDZCq/g2J8WPVIGgaqQRdtZdaBeZ61MEnjISZfieakFh3SW0YPbqr/e3So2jVu+wToR2bn7e6FuOD1Eo1tc1W+D0TXp0Efzv6tUcJrnLC3UgU46seNop+OXtJhNig+gkVfVOCBQKjSXYYN7HD1u7xIy1DwWUzwkkmQRrTKvyYBALrn82RhKhbvQa2y3ENGykM8mUfeUCq2Av/eYfQD5pud4uYmcL/Ft5Jr1bzzS5Ynr/ihRPQMMhApQwnw/hJUQizbu5tivp5u5LkucugaYMdISNMkj1/GIN4JezbAOxSlZsI0XYSp/FWpVudPIpEnZqBKFacyuN2a6mDidrvnKO3PR5TmeygcWI/cnm/FaESv+qkAjU7zMDfGgd2zOZlpvVvsLyCVAT8FXMVoHDm15mGtsUtwxlR0kDb4FeyRB1QgpRrNyNDMxtCGOtNT+fFOw4Phn7JJFI/p4kBJ/r4yGzV9kEOF99rq11pnqRzkdJUxwAGb3xZ2hxklEBHPGdaBkXLpaiY2eSgo89SFpoukSl2SlSTpm39ifO4XmNttFTyVHIteXCHomc25xBtl6puDCM3hjmA5bMzf2FfqxMYCs6YEsSPNZQgQfWF8b0n/E7IjCbpY20pJs7ae+Y4vo/0r3/bYPOHND+ajNtepAlQMWJdVNWhdzzpjvPdj7syoha06/vS8rIJagr8e8yYanCbmLG7ydDABGkiDwrGPyG7y+RlcM27dnx5GrWsiwrr+yh7AIavHqGgV+aKqe60/55YWrXvyZMYwXb6WdRNS2oGEQu6Y28Y17XECFgvektcD1vbGC1LqZfvtLOypQJTNSgHCMPxmItKzMSic0gP6iqqlW/znHvgjDYkU2AdvUqYgM3A0sztkDRLFpmcX90PrcIfEkEYQumhMFKdAU2d+GyYCWPPiLBQ6JrZrEKT8x+xaXx7UoddAPF9kWrf5XRYmzTjEXWoBcyW5iAnpc6D0qSq7FvfZNIAyQKHzmqeA3rkalHisKk39QYm78QW7fGJ1jrOyLACQf7EEGYAG7sboGyG0vvlrstCJBa3NQEMrdR3KNXnklxyWl/6XIx7zxdmF30m3XGxBavGXXCgaf6fO967nhE2A4rW3rMkVROpex49qJ5NYklKmyCHv61H6lyG2cK7gK4ilxA9VLsky9ueBO1QwPu01iK1Zp/1TQB2ekyNoW/JzJdsfD2/RbOMvkSMAy3JSLoKJlOHWjf+raaMHU4lgiaQsXB/uKzS/PACmPMPp1s8F71/nbWaoZWW7+jI5sNezz5sIfhHa3XCKjlRH6zMghDw1i/NtLdAg4Vf00AvuD/YDYq9lFuvHI0tn6BnN8Fu4lrYx+s9UJLl707C2XC3Y6KzLgPecB8pQTEdKBabYzfmRmARknomnPoZydvVwC/PWeR+XFFxfStqXR712XtE+UGNPFD4ba5K7iBAeI4ecox+iqXGbpshy1CKIwfGmIMEb7iNabHSp9dawRdJv5RL3kT71D4GuBL69/d3BgDIYmvZzPDfcs98QoYDtgKlj0rNUcYKm3u46bKa1byMWy/R+AzV5V4UFJv/ex0bhX3ksHADXF0QAysgicP7MjPsMkITSiK0YHdYksPW+kS9z4QRKaLaTUNUQhqyW54S2K7GmLRygoIBN4sj1X8d5Xo+mlA96IB+QtZY0CFOUwW1FygQtsq85TXINH4xZFq2MeMYaFILx/5iL/EG7OWK1ybZty0Ns9zsRlOUlnenP6SxKiEN3Mbu/T9ir9P5DksB9V0mJllcKfkEEB+2AkeAwfx/0rThY5oRIOTY5lb1S6UTlv6EnDwDCWwxds6rOrRYhAZIKxFbbPSKZGwlG3eTaIOuM9jg1wvVbritIFZuDEkOpOOdMs+rOQEB10ye4hxmuO+t4C5kbfCPCTIFtbQ/s7iyLLA9+gr17QOJOV8t6e8Ej487KBV8QXsnnqSdpjdLOWqU1WAClW9mS94/yY+GKSnTWWpLu102DivfougUjMArZxSWFCsjCe5XfwkmT8cRCx2yh36u3bPR+mjA6jyYlMjltIc289rOhejxHiDHMtb75ikVnrj+lCrbi/O8XwJJIS1JM1gtSgBIUMz3/k0ekexOAnspfjbsaoqpnF41Xg/Pz4jKL0K9ZLg1mRYxcAWrWCOWhzzPxbagmzVesBKGU/pThtsLDdk792H7nAtD7tNLeiJ28UaqnmT0/ZOQ7LnDjMX31ksT+x58OmpLNwAZ5dpNhBfVGBq6s+oYmPS7rNPoUnZHACFF0X3VTOl6H7rbIseiMosPmfYhUQjZBnjd34HSlR0zO84oGjT30jBuw0N5jexKGOtbGeS2vUjmtY5fUYB3/4wu9SVRnmYACTzvVR4teBdAJRSOC3ae01/6/HQkMUgdspMLrvlxF6G8ejDMpgMB7Vx3HpscioaTwW8cXIU+7wY4TZyTilOGmZQNdLlqrq+A3lGvY8g6/xSzixZ/wB+iRx7PdPOsuJZnT8YG5lgGAXI4zXc9H0Inc/Ke9k5DlkyaTwqtx98Fr661oAmKNjr40SpVmtHVTI9XDvNbrqRrfJ8Y/uFyh5J009jgO1G/3it9f367h6JOxkh4bnJkzfSI4LeuTlLjIg/eVYqvv0vsp7APnf01M0tVG9KGUfFNAtpcWKd6R/apLUEeO/IuhLKhC02k3KnxGi99mswKqm3bg5rYpRxQqAvekVj0qK+3ffEfavrojkfr35epu7ae4pvk3wS5eVLCkVzBPy/l/Rw7eGflso+Wj0OeyJIR8tmigy4DeqwThdG4aIK0vwZCP9sTmNCr1krQzfJ2XGGDm2jDYsoHe7/kNPELyHH/u/7vtqXhxHBfv3wB74WSmWAUB2qUZvUvC3FEx1p0Giztfx49DP3GiRgYTbFCWOWzF2fh3xNcEGYRV0M51aiEmY+6PAeE+RE7UoZv1mbatqxXDxdrp+TEdD5yrygHIjQnGEgbZjyEThifr6CfsJy0fo+NmzvLBeJeHi3zzkCqJDbSosiJ5qEjWXNM2jvx9AOCIwSK4FqApopq0g2dhOiazuiRjaGGB0T6XOBBTsIj9XCBROCp+HkONi+r5FuzBWLhD2XRGbv3uBC6O7oY1yORdwoFIF2rzBSnC+plb5i5cM4312W4RUPQiciOYRG1t6N8LhAai2ntdLb1LsleIjxgwooFbZfJY0TbVgeny6PUg7p3ibYGzYDNNWFm9+XLwkJz07P4LYHNtrZQt/TzKRW6EWpxt/jZim17aefw6o5gB8EOrmVYAP33zwWBd+lqKLj/Kcnb6i4Py87cCM7YJ7oB9s66g2JZGn0ILo+8xrnuVlM3zcvqMclhWh305b9m68aAc9cbrWzOGzglyoifqRqRYCmcch+ddOATH7/sdsB8M3Y5FjKUVb6XhPiOAxzILDsiiPVIrjm2imItIOuzD8lmhCyypuM7iF1VkpCWIhEAoOKwF7lUbsje8tXBgqddKxFKWknuLRE82lwvY6pu/vxSDveFMFFdPVBNYmeEtbXdXVfAXUwwKMXwqzMv+uXOyiioI4R7ZMn9b7fDiJYnt/olhWkDfKCHJ2eeRqE26zfldYYCsbLc3VPXWF7apeolKk3x20GnRJBvrOg58r2ouqBqU8wk/lhxaBk9FxUXe9svbzbWQVwVokyyLcQTTwbNzg8q370yhc4S6kw4kuFw1iEGYiazuWLW40Bwpbfw5km9fJ5n7bppDLgM98Z9NFjrPGvzCKwxondRrfXBha4mn6j4TiCUYpRfZrNMnt096tGWdP8XxnAieVF8eYkY8VsxPXfO/HvKqIz23yl8maAvEqkPr4P4rW2NaGR7li/WjwU+Cvr7NgcAiqyEP+6ViwWejuicIuALlVyQ1heSNa/+hMKdzAPBYupfr8BdrNUU8ahXwLQwgENuug/eRoCLIK7gr+eE89KWtGrCB9/ZLLpzb8YnCwZXo5f27Y9qv59Smlx19fIBhD8gpnzmwxoI38NasWVcTbR4SNRz5eg/Guc8kW/ALPJ7H9qephxAEqtXfB/UnxhJmNX+OsMXbHPddxzC71p+GirRZRDcdfeuuTir9NxSu3NDydR5LJStbd/Bm/E77tpAAuJLvhJ+KbqwvRIDixR/nFv/ddg81cx6soX2o6eWHGu/sregnasT1MJnGMM/K+sKceR4gXNE9AzhUA94m4fTePSbjm91+P3SK0e2uMSEp5vtdia2hgyNg3o0+wu7pydDTCwd7z8VjQNmXrVwKERifSb2oGejRT3/M3w3cGomeoGRkeWFkDeJKyUSCJtOlSujz9EYS2BSFkLgQV3c/grSSb9BC7Eqin20gJdwyrvqlTxO0hphd5K6DNjfPI+trO8nSIzydw9TM+FKPxA9ybeSyqM2wE4y+6aGM9TUU1Gfw+FMjpfpV+NUD468DIlm7SncB9jFSUS4g8Eps60V+LhrLQVRsYe3QOW9nT+b+7YVfqEWJPO9WA52rc8aXrUotcJPCvhXN66mqb4hF3kWbY5HNWjJPLqYnB9XVoLTno2UXwFqRUCCDjnvrYm59x4FIfhBQlbQK6EWBqg0MC2UcnTyxpU7hqvUUmLUDli85uboMnJm4laf+yEzzXr7CI33f2awTA05vWEe4SGcBUr9W5lMQu9Uc1WbQFWAMvJHFEa6KCMOa5KBMr7717Ar3FFMjLr0d1aPIa3qmYxa7Bl1ddyerKG7XfgFS3Cn2xvMvzSfOhbx/kvrK+4eJdZzscPY3xyhc4AjBbM5b92u5BYwEyy1ldhaSNRxPdANNFGYHQlQcePgx3JzcO/t58ANWvabYhd423BY/bAbQr3yzcq5+IEr0T5n2qAA9UysQT4qsgpWApXr2GkmQVluLdZ65p0nUcgRZlG7pX+VGdNmxDdT78wv1y0nAYA4P5rCxIm6lASIKMQzC9q5+qylH79zEG6L4JWUAXC18lH1onMcq8eo+hmpu0LasYzoBcwVJHUpcHAqC5/x6Wujvc+0J7OpaGRq7qa4FYma5Eyz5aAIzQ/SU4XMGeW6Kzyuj570+Hp2GHi+6AnNfVMSeLIW474542mlrCmnrnWVMjNUnt8i2q7L6g+W2K91GIVXgxgW+4y0tGPj/9uFNzlnI0jBo6waMRy2PV7gxBCfX+O6584umOGoeS9ar/J8Le47M5Ihx/UUz5RNXND46h7KEPK3zri4Z0cBRop6r2CtiV+/3bU2k7AszYxWBXxPEK3ImhDYjX94c9bNigwt65GVupbm5GUttLk8wjuWWvJ4s2/QyIwcSwjc4dv75p1IE7kGlOsyHA/jBD74Wvl1PXkhbQNk/uUlVVv1a1xOio+0uDqxnsx9k36crziidnNE0E98Yhm/CY6B/6T5hj02V3rb13OEzdqkzYycGNigpFaPuJUZlz27o+a/NJ33dKB2TgzHxSH0qOaNNbioTT3iHHyZDapxuoAvX2W5CjPxNS/NWOMS2RAX9GgQA0M4X62zbf4020Eo1G1zPFXkhNBMk91pM1pQ6+88/Qmb2RrdskB2zhVO/6nFEXRiFnFBPc9vKEtoKxNaexwC2LospSbNIxJpilc5Qp6m2suWL1d16qJUVWpXG5ZxfVJNoVHIaOwS9Vl3XiR0OHXeH7WbCOvDgZspCy87LBrYQKAjlB1xvjDxOZCnZeFVN46xwfrOTolArLHUGMrfQMV7uxUIUPA30ra9zD1Cg0ibTnrhdVpUZDbYgTTsJPSly9akFJ/lZCHlqSRfbo/BMwJhNw1anfL3xmuVdWfnJvJ1/7yMrpLI4Fjg0ZEoeFAp41PgoMS74t0Hq9nZS+7Y3zRCWxBgoku8AWZUZ3akq/Dkz1Jroc2Y8BbV0wCmmV3I6e2rnFTThQYbXV3z+ja3pjdyqZXB+TOMvgF/u+fnA157Wzd6xouivJmaB4JtrHvgivdJdxxIyBDmGiNO6p7CKwOC2ykg8RV2SQw6f9xaNd5M+PlmP++SDsQnqin/IfmUkqYIdEXSZvQCyEjaol1iipjna7E1DZXwsRS5TF/ezi4bwp2O1jsayY6ztSo0+YrJJ9XFTYLiKSf86kqKGkgryXEI7+j9nzuphKAjMzND/SAjNgPnFR3pJDMXgsrqZvJSEAIUPDrzAuJN6A/pzbhk1Zp/vb4CSwBlVYdmhc+KYuRmRFSOV78iZpdiUbnkvMlyDGu1GBZ5wnQ9QIroTxsazliAGtWZ9G1VwIHtfsIrIZx1EXg3V19G1jxk1Hr1wlw0DHdb2bB57fEu29sVbyxnlAfUIJIVckAvgAmFB1EzwBlamb+Qjo3xkXNj6bJGtWJ5bsrWOS+z/6noZccSUb5lXn0XYeazxqI687QiyX6LzAIHqLH29ZWbGUnithuMD5kHoJvqENrwzL6ZxtubH91SkNu069VLO63wEb1SMw1N3Al7RPh8tZLBpFx7+OaWFquDG2PqS723DrPBKWtSUtEx+4hKNqnAnPnZB6uSmxi6yq2d2XP/xzclWKi8gYZn8gu0pAfNBBQx5/yNecPAU0xvvjjMRGpJ0LVbLvqPeOPK9+jHTwTEcQRkIernsw1CETLEkOuTNq7KTrPD4rtDNsozec1LOrgX495KSyyXEbaTs7uhld9zVySdCoZllc7itvic2vdmf1YxLYgGN9AAoGy2tbD51SPodQaKBtLCz2fR/r0ddNry94+KATMjt0mnz2QZIPg6uX16JwiaJZoh5jOq7asWR1gYCb+YXkfWTNPysz5mvyB+vzK4Rq8QkDePz9gqlE6iKGO1CcMdBSK3I02EjqQ3CJXHHDzSIa/u4fWGRkRjarGVyZdk02+vDgJgaNIpnLQJ4g3Mk9/tNGT7bbT8Oo0feyy7CyWO/wW+k6SauwB6vSQD+Tdz9ApvEINkQoGkNDVue5jWlYonsSSqqpCI91kEE3hiwtlSSD4apz+SdWQWxIe7wOQFxexi9nGjDi2Csc32obYdnCv/fwn7pdXF8ZFZozGa2x/dqKQnrK/fWgHdxEDgmFiC66OSRJzVgrw9z6nmERfMeLYJv0LstTocI3drlkRq/ivJwMygvq5srkFy6E0ekfsT2H3GaGZuCY6cEoJZPEKCp+dZ/sxaM4hNuyAhYM1wAiBvWJO8ch4I/9cE5ml+qF9Ix9tu5KKYnXUp/wI+xJhbfqc6WzJZW6Yni5Lwjx9j17VrCz/Iso64sFr1j7rYAB0Bcyx92Sy+mrPGu10HLOMP8+7GJr4Uc4B3/9OE1/XVjPxDyJ45x3anuBFGFBoQlZcD4HKSqQ8mYxU/mprUTYgRb50RWvFqRpdJfMmLU4/MLdqd+nVwSne38op3v51Cq2SmMJhiDYP5+kCP417OrZvaEE+2loYz0ZrW93LJFtWCjJ9aIxNoJDSkojrLG6eV9xHp8PvflrkkOn5gqqEWZtM6DhZdJ33yOtsuhsmj35pP3JanDcN9t7MZ6LdKcpuiL6m5hh2zLvSo0x8qkkJE3wdjP6Kosa3hAHhZ64lxuY2D71RHGhaY6pANwP4/JOGimlrGJzsmgJe6OaSge6vgRF2RnChY0PRhp7wAc22s768BvFsfrvVfJI6RvfUNQsI2uVQNjEgR81yA/CM+YM98vYSL2lBAefgzi/7aW4/9CXWtrVVBsq3ogftM8DpO3bj33Dftsj7ZNYV9VTRrFzSj+berrObalnj8yxkYpkwoMxWOtDQ43XIDVfaZfyYNuXtg8jhDv6PQrBDEcZy6sC2IxI3lwaqKzUARZpzXGfY7BkclQEdI2QWkKak+ffMwy3gDPg9jYTGm/7jCAYkQm/qNXTzeZvGXkgWB1Vq1XcDS6X1q7Xq1inbOn1AQRSqaUnwxHGsv95sCJFXwfEJp4YEQtsBFerWHhyeuIUj1uTmJf3a0wtAlQi7Cm9DwCi0RUc5c6lADGXxM5DP3DOgjQI2tKp3+epzL25KsBZFsLeXzoTxNvIDx6R2QgNOd66LEFxV4xD7ueCo9NnUXnboFGZRd1yr7NaTeC0agBlu2NyaYkkuxSixXft1GNw9t9boePonp/kQXjgztdt3VFXp6TlxuNjuwI3tIqmh//paBlOFVZhTRGfwPx8OkYN3gV9rwUO5h+D6e8ONhLiqg4x23XQMaIT8M//C37EyAdxxj6PSnbptG3qwy4L6AOCP/indxtxILlXi4Jd998V/w4SytEkSu5w95yaTQ1Js1fV2P2fh3Eqm+RDSike3r/eL92BgqWVn3J5q/NGY7rU2nE9L9iCCcIg9XVHJ7xJL7b1UoXKIgpato9TpMErOkTqUIRBycDtM1Un245iytsMXH5JC3QO7ldUXFQXw33DJ7Sf0+BwyE6BYQpQ0gTZpHgnguUSOSwa94jdoRFUUA+rUoRqY7B9wvkK2dkuNfihGWh6NftFEFHGBid4ZfL4fV9JK+5doEKtVq95fgUm1gecvpyeQ2RqtnwCz8s8UYBI4VlLJgxH5/R2GQ1jGLmgVr1xI7bDnDSBu+hvvJWcnSoSY8lsE/36ErB8A2xRfzHPW7OBSK8AktRLYVccmfSvvDgJg9DehWIs3ca0YbKH3hQeBZEojXGIc7onEKMFliqLZuwd7j/e3fBIHYStMwlhkmGpgJNk7rc0xPb30kIgghRGNPW7HzVj6hqkwmFKQ3dtF7Zn0x7ecC9vr0SDTpC5EJf77Adu+d+iiG/KNl3KA0B1/IcijnF2NTo+gaTI43/Dz7wx8tRlHdXcimXpze9mgkoGmY9/ZHHKYmkkO+cPJO8v0ikS13sBZtv72L6XLiCoWm44ZbqBI0DO0HCJfQFcvOYtPh8PKk8N55s1SUIzTgKx32XJaS3CQbFgK2bE/3JYdVkLDgvuWMakfsRDmyEcDrFW0OQJungP5H5tVutQSbzNJNmUjDIHQO1DCdRaSlSpnQNVCC87WbtguYWQ+MMZs35ZnmkgjrXYbU0KOC0t8UEK5zpvEDMHANrlyd9C0ARz84iQl28H+s0/fKGZ6KQK95Tz0I9x2PG2iDhGlAyA3/PE1pcScT1IRB2jGSDAobFy6w9fmhv4doVDly04o4ZuZLu/+yBde1aF+P45RLbyl1HzKBmXScLyG26clSWdcEaNHK64XuLeg1HcCqeg5cS9NWz4/5HoYSVB2K0wnfxsKWk4FKXpemwiKvjBCKOOcQYys08qiyDtHuMcdOeMPUlkfxPRq0FAs3/SnEzS3u1ctZpQkmO36uHU1Yp+w1rgbM3Zr78wJYkTITEoenkGCj4f56kHSCfA8EMgd7uUg1APasGAkX9Y9eZgaRBNCLTWuzXQjPwHO9j7NUuuiClJbuMxPMhFcfK9FGGsg1dkEte5U20usyjTDhVzcXPO4MKtcDFtWFYgiCiFsMzRC1XQxkAr1GmrQv9tTzvHrRWZChn3RskQ1sVgdm7YCkZ+xcT1GxhlU0uTHiw1yfYt2rCTi0nsnCrwHuykW8QT3HbVEzfx7XnXLc4PBL5SmEeZBfrCPShAFkooWfG2502yT+kXZ1zKNSiW2mr/AiNGOnrKvNAwv+mNxesp+cT2DKsz7s0Eziv089sjRbbuTmM77lx3x5YVI03mFzLA6fEqGV486Lkl2wxIoIlRa20h5ANjTNQiGl8sUqmtUVVT09M+6VpmJcFytHdugNy52V2HwsnF361pYGeMlCzbfWsFVL2UCX6ADxwfKh5kv9mo18oF8er9ZMKuj7/p/vV33pMT9PFI7kLNjnaZ9ZqLYA1ClZY9phB0YkF6YO+5VI5iDeLKkr3Tpz/+bhjWUyukmDjzsn4ciBpIhc7fXnZ/tOSbzBRVQavoNAj9O0D0Yn2kqeC35T0IhpnUCaKwyEgb/OdaY+6L7iI0qyd1Xa8/g6xjxuhF/srT3Ksvtj2jWPM4+qIy2rTKRBW+RwEuwsALUxxLpFRtnDbfCBtcsl/PMXMb1ku5FvEWKSN7ihROAiK0SvuW6WdcdMFWs4kEo1+R7D9UoUE1yqUVwtL1izxIoFwhi0S8LRhNICdXXgZBl8cUbnrAxYVrJFN+J/nYxVn93cumK6+NdN2iz8Q96TzVhZKKoo4BZCy5SX3fHB4TEzqVBFOfIXPA79936QLvU1u4f7XDQvAiUpgUUJvDVRF6m6803VWeDXyp9tLJzlYxu+ldGW79kK9MqZwRs0nx/w9CNrJuLbR/fvG8BMeiLKBECIWdEabRPbV2f4sbBosBM4mW8r4P0uHWXixhDm42ALRxkWE7YLb8DGQuzEiYkH+KN9XnbKy5lrssDrqT2JMXh208Q4YPr2QtDSdrcogRneWpOK9LQ5UxXSZ0fetselGunBWnF+eBmkkcnmesIoHD/0PAnzjoHFfD9vKDzDv/We8tTXdJD5I9XZe7/vjID3Q8uXovkV0KJCuhbfi7Nbb8HHMpaTOldPHuOEpjzFRkGAxtT3KEN7njdqYxTHDrxS/EkxCAruE5vpoGu4L5P3EEMc92Zv0ndIlAEzwdH0+L8EdxIA7QyFdrE67fX63jvaT18r2CEBgsoJnF5KQ7TY/kB6LFU1QlQxmLSiWwyPN2I5voZNBUcZsZxi60U/hedZxHRsDTalXXOLDZEChYKQTMNyu5ZxLhihzyt4f0vN6YNHjtHAP2wvN/PoNtV8SOMGT6om3yBeAHmxLhwnLW/tQG5mHA/wP849Vyt+sh2Q3UZXBrTB9r1goJXz4MBXdPmeOepvX2qSjknZgQQ9fjVn8b2u7ami297jSt2IkxiI9BiujOkpmoTaORPdC3nbV8qUt6m0G8vGicXQ3FzZvn4p+m3a1s+vAUqrqJvflzQeVe03BgKGPkQGvb/CsYb4LxkuNrePNV6F7MoXJGa2prKnnF/gro4jXyScNc0ZFvOcsMYPsCh/J0OoCETrYIDJFRM4Ns4PTknX95GGQZ5BL7b8HlvpRtKGken6b2YAJtEdNNid7qRsMqJFFVjG7QapjHqZcHjdgCUahmJeHP83+InQpeFkJWmoHqzF+hTCkfX3I/hMrBWRYS6bDJF8tH5g/EjTFjLKZPr4hwNlI96RckO7Pla7s9lo5qJGBxPHB/ewPYdGXjvlq68uzpJyARX62yC0+8XIo2HD00cMt6fqUgk69CI9FKmU8F7acwMdzsSTgUHATIPRg5QTC/5+0sBEA92CBBy++JdZYyc13hXbAUwrjJAkzCsWfjADo8TnPfxNS8AU5R6YPyywGbeWK29xcg8iVBVwYJ9TIober+fr5nmyyQNHQS/iKednZGgGgEJ4VebHMm0Hbji3IovzHYTPaz/LBysxoGjWK3vYMO0fvN5H/bU4TMKZSb2jI1iVYfcWWcW0Sw5GUS0Ow6wDqkCJg1G9nbCXESu97KmC9g0S1J+iq3eXvcJMyrNX6/87FEa6O68tD7L/8ugVh4uvXfXKuA202tCkwSW+T57+JTIEvL/1cawtC3M4Nn0KJQRlRnn34lgeSbpzCBUtwcWP4suInl12Qebe9LT8T+OzgjdqSkiyFIRWGn8xC9/t3EmU39oPa5n0VlLW118ePS21NQEpaoCm/T3yWeZTSwXB7gEiGzBe5EjJDd5ziSjznc+ZPsofSD99S2koBZ3SBLW9ygKrp6YXTzJiwmn1vSMLS2Xx4uLpWk2sDBAZcCweqJXEun5bx2o3Anq95F7Fw7+EV/aj3loOrGAsL9MgQxqY5BaEfsDvUKcQI586ryIO1vBapv8X5ko1LUc2AlFBPwEqALPmoiXHY64ZkqTs4kidkPsy7rZv5CpWMErvuaXLdoZaoW4o0Bav4AfB5vsQTk+ZNMPNBnSJNzotQfQoFBAm2APZG8c5I8mnZBYx6iOgqwSnFxAixmQStyYf22cAMurFoOGKW/J0Ekh0yeDG9xdCmSoAkK0KI6X9776NzNUM6RydaUm/v+fzbHtJnQ1b55jbgPU0ykb3lUh+wg831b2gQKy7AINspGEI0NB3elGa8QcO9ScvJGWO6ptUcVlHIU6EABLAag7p8KBr8Gi5s1waNfHZBo8zOU73e9fxpxfm1rXd6jwcifO8iW6NQUhvrQTp1r3rQPXWXhY7aXlGR3jgX7Grifl/C6RVc/gB5BgK2z1+QbEYk0zr7UDECJd57U9CNoKI91dv2OKe4+2Bghcsu18u0kcYU2SgYl92D1jvfwz1IX9dpdAsWU3uRRZC/YazGH4iEqMOkkjpi+SNT1j3kJMC1dARr4C249/vF0UmRmJmu4TtEt79lm6YZqhzm6mBwkZieiWvLpebHe+FJyyrTm0ctIhEJj14R22Dg1bWjv6XcxBnxmpKRGe54Y0OaGUTJw09xBiquqHAeogncZ+M71OPPOgGMT06U+tH1xpqdoQHy5o5+W7rxmgmEh986aMAq5odyKN94HBv9ZW7SP9ISskJJo/zOAyztFN6cg9JA672czKldB647CcPkvKywvKX7p1cDwm+QqcKRhmd3tQs4qjJEgSwPIltMXd2ZgA/tJPnavPzgzGZ+Scewj7fgI+PMrXpYdkkQid/AGkhb0ohUMJKU62A4Y+yCewc/URhCKSKgqbqpDZ9Z/pZ6+CRmxxKYf0tb6J2zGXA+sASlowAaXnrlvh6VzpyXYqbfARkzg+BjOsuOvaqOjYqA2H/X42vuhEQj742ao1imA533tpcv9mNy06KtGBOogq05OO++CLenrJuZbkiVgqRLFsnw8Gb+bikqIz5kvahWv7Dv6cFKQ4JFaE7BTW0f+h855LmioJborkwNZOGcrZoq26QCIVWTsEcMrm0LsyvSVommqY56YdtjuqvYeP6XsCAbK9Eyol/mVyr0VWuEAiXadwVbegeKnuuBVTlAbykv4tBvAhd2rhcDXCCK70JLzCfFE0hqpabYrIGnfHcxXutxabsk7DUDh0tl+i9Jvp6JMq6a8OA3/KIFJyz7UD4SP2hnPD+JlXcUGpmfWs6W1+xajtQedATEch2Oxy4eTpbGDeP0vt7sqTgQ4pBVBgD4vNCVmR3czZqBb4e5rQvIa72zG0eIPXgtoAxnVSIQbXXc+I1wXsWHUFdRPY74ewnzQK2Bd2PT+EtLXqFp3ROiQtolEPn8cg2J4VwfhkAUQ4qw43Cx5rr4DDI9wr4IuuxjYgflKXofYVdKC17RS4POSM45MiZcB9lgv/DK96F5DF/kTcsIlfv1YpEMymv7UoyJ1PesFn6nSjlaQ81BJk1VLga9qi26obouAUrP0txWVnr6R9mYusPy6NUv4OeL9x1nx5crjXKgVk/IyXKsG2FoTM2DQsyAoVxE/Ad49zjQxuUt33zjUJ6jwQaCH1YnATlqp8TgpFaKbxKSehaDG8HcoF4uaJ8zOShYPRBfGdSa8AdaRKyL/ybR1Pk/thpzujboFOUatiiBr9eGipZ+vmGN48FqdP4qR2bUXu4wDasWEmh1qkMS1zW+4n9w7keBSH6ViRFBvMfkBG9PgDifuBEKFIEgC0vtIk7nHO1Wmp1iBMucyQudK8o9jemkOU7/73xRshaVwapg1hnYpoD6zcnQqo6gnYN44E1Sf8rK+uRDnL5ybnMpCK7LAIW/SSO8dx9nxWA/5B1h9/NgllbAxI4aRNlM0c/JB7bu2OFjVMd+DjJNmeGCR7nK7gH8cyW+25nSrky+uPwK3wMsW2Kzb+F5GP2LpwnAl+uzJeixYRzUvJZ7i219PWT5k7L5sgqIddzH8h+N/pqNFoRezI+l4ZlIDqdzrUSS83E+awU1plvg3ySvLg+ZTpsy6RNZ/QOQXsQscAkMSg3Sj7MvGSlR7CzjOKdcy6CWlF3cPEkiGzAspVbVLxeH5s5brfxCqNuTaSsR7LcTPI/SG1t//L5SSX9o18JEw/0eL8FfK5GqejusdUgIa+ujJn8Zx6n0615nfcwq+8/WXkdj5MRiz7Ngqdt7tUvU0mifVnOM3auH5lv80EkUosqairrY4F+zk9Jl15Wvn/0SEK7AqI78s6ZMtzNZyFOUsxVSmEaCTjoOjPE0pa85lCAo4zwNLFGNjWVT9rPLIFzIzKfjJqqBjeicUjxw/6hupZY00HLMOIjnNBn5eFDnO2Y2qa8AjXLY5ivc9yzEcn+B7qZHKeO0IsCkJXtDje8mK8HKYB4EaMFwbBGAz5/s3uKwVlrvMRx2sOE76hSiKD8h+WwEvEbosG5IxGPoHEvrgoK9R6Q9aOjUiyJSy2ZVaNRKMifDmlGDdXaGWZGB3PGW9tIoRGpU6p1BQ/hpg8FOScidc5CUSpzsOfK/016ulue6hzmSVKP8Gm2TU5ieGA14FCA/3gTs3vijzJ5Hd1At3EnwXrcAqi50f2AZSvMfdwZmm+IUG3EB7ALcb60RXGfcLBhbFsE5NlvgJHBccDavZUnHG3D6cWpB/yqS76VTg1b8IYmBdt3SOCqecHbSIXhNgBZqThyBhLMtKnUjeifCYUYuF2RFxgRYKoqLvlHq2yCYnxhkeRw7pGKT2n5nUYPFVT6oLYycMuSoTAAAo7NS5Q08vZqL1wyF+AfuKQydFdq31IoeswK0jG7eutPUQY5A/TxmBpMfkBgyveq92+upBJ2bG9yje9CjJfz+cigeCyPQhcjoCZ59JhrRL6rdXBlYvonUFOs1a/PEkUggxBkTUFsC5Gt8fZL3Zz8JWHVCsIOGbz8CLNSS2vL3y1R/MpE2oB2myFztWHkS1KcV1aWtJgDauQWa8H7ABbqfli7sG/WdxtUiN56aeOsveBneFzfjn/K+2Bix+04wclR8W2KiBIr+SJFlMpdsEiceVtMQu5ZcEdmtkAJfAIYoDQf38HU/fW7FJ73vqdNW1aAkwl2J/lm91ji2kKDyYdcGR2hR6bVkL9vqRZzmUwtgNXQsavg0GebCaSUzC39L63FoEmMhbjWggeh6r05l2oABz5WTIcwrYinFhUAgjqksoSf00d4COsy6wQlVIe7c0GN+sh9FmxNrRW8Yg0vut4w0zeiFdhEe+19o3q9FGbjOxy27gpiF3xWdUG6CnK+AldaWUDhSIFsZhe5ZQqqDniQHls5OJFZgNARI2teztOF2JfDc8ri0XazZ9RyfrK31ITGlg/t3kNi50RLHxF9g814WpywqCGzD6GooHufqQ2CyAjmXmvfdy2hptfgb1NNA/sHEseWLIwL84Aj1UJjPf0zy9dTGc/vGJ5yuI84l0bg+QoT+iraYxHlOO2MhQkLZa2OfMdxJPOYYjoKTRjEazH/oyc7iHRUqDRGmfNTaAz00R+rnQ7TZoCBxPRki05p9MfC/bxKRHzPImGjeKMf7SWjW+k/12I+lPY32yfANyh7Y6LqW7jbeANYvXrxjUxk8zWlhb8xuo1FnEDTzF0HJt9YrKF7yzPNf9T2AXG21y67Klf7y9UgJGTUcoUY9ScWWCe1rWS6T+R262WyHTRAzVBwDdhCdjrAKa1eEiSUg05hXrtXWBoiQPXNv8A2c998Ec/8BkhfWoxn8oMd7OaqvJhKCepHkmHEGNiE0sPxJWcAftUFHRuL+cxdsWhonP0Bk1H1KtsjtsrfZuD1HtAqSjww0NMJhSXmaVV9Ubx9D4BKB7Wz8sA7alhSmYbpfezEDvMCKqqB+3kfENjJzfJgnXE/N/IoOX+h1qmmF55psVBoc7okiuH4Wds6jXi4wWK+7QLc5G6PO57Uw5C6MHbveYvcE0smiDurKap48lhTMPla8TU7Nc6lbFkO1FCuc2NUqPXET0OnjZsSXfcmtpzmei27Omdc3rlq9/jnLYC+mRUwmgiWH8WwBVBsqsjrJMNj6Xx2uHmO40CMVQwis6ISPkJuUvUUGIcH2525ofZZrKb3GhNZPV+cE0t6ufw/laAFSxAZTcYbamd3o7xa5TQXs8Lt8YytExvXuVX4KOswBgdLgPiuAs3AEAOLcD5mQp0bz2YhxL6UhQF8/UrfPITDRge0oqKuy+sYF9WecaTX62etIlm5GNC6VDzPeC/yrqTB2r1JWGNR3kHKxNXmzBdLS6rJ+Q1uBW+67OfD8jQ22Ngar9ZHWnMYud73un+pwfCAZGmsaAWQStnzi0BnHvrOS9aquVcKByHTyxLX/RON7pPFtstcPkFxo+XIriQHMF+TArp/GVgp3AxbRAZzOm8ElSBo//aoUmG/klzjCKP+QrpxbLSDz5+paedsi5cdsAnsHYY6W5OBQU0g6MAgo+psZ82u0oYzGNO4Pddlw0ah7TV30IU6QLmz+uiQGhuUP2LSU70Qcadp0n5lQm/my/qQpQAYpE9CQzyHVQ2dg6KWwrNdWAUfxenPd6lC9JaN4uT/+rJJIyJ9YrmTb7sZgn9V/w279dMmVeWdmBDs20NZtlzvwNB4bZv2YUB3r20sNpD4yhQeHBwfNNOU2Fh8F7iTTOwmnnxdFFvN+UqXjA2OVLrROP2sg53yVIhWFRWqp5dy48zwOUsq9V+1j2XcxaQLVRPzFH9CxpIs7UcckwuEEnkEwIst3kkan+9uGMHtOaH46YdwMgl2A66Zwakb+7S1h1dW+/LE1ZLl+DN6claDMF3CpkbSvvw4h+n41FK+sLzGKdFmRf3lbMqug16pLrhdKYypB4fMlwUrZexmS8lnpKljFSKAZx0rmBrG9ALn8EdDPKWMGdWeSItc476TfVQ6eP1/6csMPqp66gq1X0H2XlLQW9UMHfX5T8tW2VDTe81HtEFaC93Xh64kViueXDG+tx4LS5JpsKIsq7RedYCrXL0pdWA2Rvp8zg8+FajPx3mK4oSlK8j4Aji062mxg+B3UK5PVt+E4b29jFpKXprEaJInwih8DeMOeZUHZ87sPuJKNNXtMO8nJKcUynSrQu2awnzWKAfZ3Z7hp+c7sXBUMBRrcVB0rJM1pczrya7J64RnxpO0H2SS9RGt9an8/XL5TAhPcFBcNbyFTHvt/uc7QXNt/R283EjT3BPXHvGD5bwxgAtJqJ59l4V5QDHASTwZUkxwNlZZ1fNDS6vMmmmNs/bNOjmKvT3PEmXwG5kEAzk0rbcKBRqUxPqk5DahpWGs1MyyEdhpVMQRYN4oaXq47VWbiH0haMSewtpi5Xd5pXcTD7Nags9GSJKFfHvtWisDwX4c3D1tu/duypxRw5W2gv86sliex2PmJB5InZGINvvgiq2i/dKJislnJyLTbOUbxQT8Vr30qPMI/8w08+NDQirBluaKU3VXuB7j4K9PnmV5yu6bo1rSgVLCLlKaG0rE5TEArQKSDPYbIMOoxv0dcW96PLM90KoarC7G3HSBQTxkJJpi/dqbwToaaqox3QlfU2fyCQog8dd79V/tVl+9tbCcNG9oVRE3IxMk2xy0ISdaXBdSCnd586U6w/WERmnYpnSIFxoDSOXiEAWe2ODZ9+whiDizK4VkjsQ5MDZuiw0/pTxfP0p/lO7whWkU8wZ8Fc/OamCbg6IWjW39MelamCmEiMfRHTbIMLBA7F+wMRhUWjpSo1m3aBrLagwJZ5pL74tLqYOtKlVxSV1S78MXCJj1PlC9O2gut0o+CcGg7f4MPH5RB8s6dOJLrmPZRerNmMYWVM1NUYPCYfyFZ6GFrfCU+7mYFNGe+eU/9Qv04rOqpsyj+bgruz6rnrR2T3HEiA5wJyl2EaVnifMVmQnN2mWE1NexpSw2btQMHG7kxXD1pyseD5Afriv7AI5aqD1zwPlfzHhU4uj/dnbuTiIwTaJv6M7CNwC6tTolSCYFGYOd8wTozzVwSm5CePensLXyzMqXxm0jVlOF0/0+hqVXCvt/f/9IwEuHNF3eK7SHjY+FLdC6NpV1SGJBsErooqcuQxw6/bYLFK+6vQtxohFgm6Ta7IaPuM/FOJNSA6+a4llt/J/d/h9I4S7pghY88MhgWcXPprlT2X5S8ZFLCmi7D2bU6gEX8UpIUXLTQb6mXj54dyBMGkNtoAcDxBLtahvauVIsKqdR7YYXI+Mw5A63QVhus41xL6DFugO2hJKFLbh3db7KQoUaXea0oSkPVeMY1OD3xc1C6yricHkXao0jwyW6Zd2zFMNyzVDHusH9uOH0A/ZCy4ZYy1LGSgDgVi2B3D5s48tNfz0TNYcqkjIXRhFDGQZvbngZnAluwF0akbjjGvE068Iv2qPnC1VeMOttch5mm0rHi7t/9YrRBXsdLuRjFnjpU0MdfCsVlDkt426ms+idetMlC+Nq51RUvanrkPeSKHKIDi8Q5PjkNC8kwgKX04tSGsMQkccsBPZcKH41r65+AfAeYUZHq0YYehjVxQxxckgLD+x5rHMXOREW60x8eeWqDdgtGOCoAN/kGQaQEJSImhFpdu3MHlU2HEPR+aBD/pyGr6YHweNqcpk1NFNrT/Vi4V4WkhPaz2Q5WYAtjMvXUopWgipdAKgQYX+u+dTFPhmSbvXEG4Mk6eLxWHDiX4T248ZQfs7SIbH8ekjv72Na77Q9VV8rA7OcFfNDtVGegSZsKJxs7PPM0bO8CLz8cYSzNaPSU4PzZoeZLlksvCAtjXqHzQOdUMo0D2YIC5EYB2O9FhzqyVGZOkB0n9bDHmehlnfoYIOBCp1OyBq5Z5Y1dWDEaoiWqaJNPdQJuEYh7DJFB+x/6uVrS/P7TrniDXDmbuaJF2o1ZYcDC2h1IADDDuo5tLiScHqt/cnmp61grX8Z+m7jrajaQbs49J74M9OlsUUcBAY4sQNfcw6nyMlTj9mRX2TnITo8ZjUSi1anqlV/+dMY3qf7AumTnyY4CEMyQMH2yr26JjTUCIuecESLFzHQU/IgVedQ2FFAXYydHhMeRQWbV7nWXIxPTPUGMtR4omYEfn/Znuhzqk1k63wEhJXKWuFFk16LKgeFc0xT2STsHeJ1lHAIlSNPSqaipYIukgH7IJotCIEB1WeqKUEkSLR85Cwqz9QVtQJ3GukNp9tBwOd3ZQC3wofkUCvWRn632s00VMLXoT2wvTkoFPAacM43rTeLUy74ET7brhM8juP2X5gkXsqqJq0EiVYelqe86pNXRttoFo0cK7d3AzXQEkD1y47pWveLAok5AHNuuPX6HnYJC1Xij2Uwklv187hP9oJXhmdrKqUOApitq5ctupxBojMveQMVONyFEBCJ8FLNxG/I2LFGRnIWbybV8e+bgkm59X+rs6SoJOnLaIzsiIugE3GvUrMDQCAA7WXghI871eJUWElSJw1dewPutQP/iTeLpS7mQEW2FRthIjNdXp275GeB3h9wnep66FS+Jy73q3Le6eqJegxkK7PfgFKRmEwMHBUTLj2gODDl6wBHTjVT9GKrsoQBySmZxg0T9Pq65RNAnOrXLvF9EytsnhwdxfOYL+XYjH+sK2z6cPgP4oy8NyD4vUoyLQ2i2W+dfjV/1sWYCvZnQBS5KKMdvZH75Nqzahd6apHgw1xYHopbIMDp9XHBrHqUQfRhcgPoOPukDzrI6qPlrnXkT+e7UTtgO9l1Th2uud+DGtyF/4+vAZ73S0CLeO5vcybZj00UIsU5T240fWuNpC3cGkmhuZrYKR1Fmfm+FRKPkjOpPrGGYBfyaZoSUFiTI0KB3aHgWijRBxHXhLj8qohnxWyECouXh620Gflv7Q7UlyJv+zp7V+8b6+YTEfwiUuTL9Li/Cjr2Sqz1MxqHybY6La19byy7IpkibV9rGeAh/tza4Z5fesqm+JNsKJ3IghdZ3FKUkbA3daii6v/VdilSMGiJKIBg6+UeoVn+6moxlknO5niM5j/jpmvYm8m4HHhcUc+SCKNd6Mch5ROzaWIstAxrQst9ZKWSPDs8HYR4UGz17+h9sb0UyR7XjvlspIGRvSaYof7JlXOOKXqW9BDCIhpKvhAFM/BsJ2t+NTXkCMl9se/LsYO5oNQu8EEQRVHEWcK8QpHCTyX58NnqWk5AhlfAFh0LtiSqOs89y64gj0Le+DZNtSfupUfkM5M0z31hkVmgCYYLy6v4TleaMXp+j9+mCrn4Q+X+h+XDsPwnyHfbSLrTmseE8R17acVWXsiL5TimVJ/NwZ4nSeMoMWMRjkz3VolxaZuSe5hC9vnIlVnNlBvGgKOs45YflHrZAW0xYRDUmqH98ggFjws6D18uYdZ3c9CFs/VsWjzfgCoO15GY1xMjiKksHQsq302N/yqSXHT5+nQKF+HKwUjoBeCOKf5mXhejI/baWNhmp8rd+N2gOOAJmm+obDzD6sEW5u69f3EyYW5O8Ffykuqz4Gf+iUeK4PmW803u8vJrhEnpNtAxQex6CfKMKcL6NTXuOjC5PepNHYBcW1XSUi3EyIyClNK/m4ZYI6hkOlpIUYHLvvpHPk66Tu5XnLcft4eNdC+GgvWH9uaIk/pLtSBW1PNlOgGGIynILocXjV1c8J+6qs2Fr17zKCw5di/f56muLvENC9aleRFPMgDklUVm/7PrJoptDg1gJc9Sf8Xa2qGJVSugLrGCyIbcys8IZpbIL6eF2GujnQ6QtVzaIJV38AdBBLm3A79zhOwxvxxr/fU1T0FwnFO6U/JQQ8D41orcZrE4YAmi7cbaLILJkJlxTM5SMGHLdsBvxyPeTdEHqcqtnwsZi2IMB3Nppw4EhqzKEyho4CnSiLXpPUelt9bl90IeOSimReRKemWFO0He1kiD19j4s9aD08BcjzMOtc370STuJewsnY7XEuGBtCMeqsTtif55Zrssv5qHt2/laO987TzRhi8FNyJUpj4dtvNeOrWaTf5wLsygRBz4mGSGgSqHfRSxiwt5NV7HAaNJAhRbENFEc4r3j2r33vThq75clTe6FGLGIe36JdUj8lsQU87pTf35JjjJ3im24HH5td+13wYgd62x8IswFUTDuUZvNc7pz0xBA+pNwI5yOkQCnoGtOPottvw+WBrneuwWPOTGnUqGZ+E+tGR2cVoctRT++1qfH0VhGMqCREmajB1KGvJwc1trY5sbQx88uzuePhch+QQsdtHwVdect307dpDCCkAqhvJJSCTgOzFCMxLrNIpGCLjP2/yDIS50wM3yGwd0YOcQw7elnPLQursN3OYkIVfOCNE3MNcrglj3yftrQqAd/U8kyKS3RWOB9boFU6YEGKH+OQq2YAzJ9rOvAvqtR7SKQWZcGIFTQuvu/CS2+HRngOn1CqXdola26Y2mpdzwhpPAd9UBM7quyoKdLD2BsrbTqM1SJ4F4uOa5l8k8WfPGIXnjSbew+LiyxcPvxhjGXpR0711J+SGJkTk5jKZiBmUYWLPH7hk+5TaDCgcyyrrEEWs6HPLJtpCR4z59aZc4nMBdx+hzXMSL5/jDjnPUIdRry++lo/AW/jmn0whTeFpmLxJqtAnzSXZq+vT1zCUW3dOZqmVp1Y8Kx3aDdG28Qcxpe1YIO6+/nOMZW2iRqDYGUxMo6sisMKu2s75i728ydd53NtGCuwDiPBcWqNgrPItxln2EH3ybkofYET98OOj356zNY8SitVcyjFIbhVD6xeFE6TBNlkhjGKrSI5Zuxm6+qrX/Fo2pPKCBoGSI+/Tzq7ofCiaaN0wG3X0NzMuN8Kqi+G/mf5zpgd/GuykGXuIdCrG5JsB6faY8c9QaSUVqmC7nHRPDn25cKlWo8rrw3ExWd2zz+2SnB9rmOxX18aEEbGCksFiQNnpcXJwU2rgY/cBtzWjVfvs87rxva0MDM7dtcKJ2fEg+BVTERJdJqzAS0UU27YomKPTTh68SiWcCZ/rQ19kpqhUg8DObRjhkJg2jYChtCw5oWGjY9pU9WkebMYs77X+rf83q8dfNoWv0SOoquvh5H5pLFPzkwn1myKI8zKHHVXyHbLjnXiwnhkOXwlyzmHKT0ExmFexSaE4tchoUMxFDjoRZKScN9VZK3VuNq/TVWhgNwbN8kDxqFx+rfypt5x665gI2Q5Vd3+A8MJF4ZlMPKsnjyk87Dip9okDNc6S1CDctt2EwXwIgmuGfC/2X8I/wWeyu+ErKrJl5Yy2iuepFooSCog++SNgsxm5IYEYPLraxrP56P8mDiVqtBaBFwD8jEXJdAEEqbAJgzTTnncD2pSRi19vQSL1Wmy+hzv6lNwjyPjBz2X2i0JnlUHg4LLeyC6TunSHvppLGQSxNGFwLf/4hbtzOMMaqhi2omMCMXOxFGoqp6Kb8Q6NSwJ2PfEaaUHjN/LZ6kUW4ysGgTccuzIhcj8BtODPsh6AouIww9q7hY8VhpTUVrYGIW9rv10r84eoRJnXzFi1uFCJAPQPh3iWUwsct9gI3NqAV+bSANZndJnCDHBC5enTDmT3/KMLbGhfBZv9RTUcVDlFBRxzEN8AmIBM1BaElZ1Ax1twfGTBlnHPPJohVTEFtvflwf5N//5M+mmGSyNLqweoWlJckhIzWS4q9p0h0h4kcrUAzeJnaWi5ltR3Nj+82P563fa9PU2jBf7N/Q01chTZeHh/lAYD6Y9QVGHwvhcc+j3YBLPVqHRnyyoP+Vbyale/aj18AFsKp7amKblWpNLOSQc99WuPbpSti4n3yqzr4G3ZAbxDh0k7zljry3FGXVCZ4mpjnEdmE/dfm5DRyu+oHxGnjO5qmNX44hcd7NDlDuxB83ebyGGpLx7qnopTIEHz6IywZSEDUPvn1FTAdbKiVXtG16/VgbEp4Wa1bttzmvojVZC4js45KAfm58LR6mbGGSmhxSL2aeQC16ez/+khwZLAq6kTzW3RbCes6L43R/DYpyw2B5D4NU6mkF3LoB2U2z2g9b9q2N+qmWFA7RT6HYwhcl2AAIjPE/yQJKnRcfN0RdWzaF1qU+0uKmWIDiSqoE7hJCkYXklBAAc7ajaPWsbjRApPpDrD/m1zdmxJUVS82CNFmshZPKji/gnR1f+5hBUqXvYN0nlSB6XVeS2aTwxu1qP/EsX7x4oRZWOBU1gMi94DFcfdMWaPFgEQ+Xk8X3aeC0LrRnLNFCXoFlK1B5wTpLrQdMrzW/wH3bfG/TNW9DkjOAVCvqJb7aEEjjAfhKDg0q27TbacHTVXKFoyddZLNXaZJGrqu/a8J4jId0ucDLyv/iDte5E7Nyx6eFpypv/5q5ybVZMTR+c7gY5t1sNDNyvfwaWkJfqwIHGIQMX+TjDpz8URZGJ9lGZRfMIK6KXpIPJPIb9+RlH+KqeKPmxEg2Lm1TF0UAqd4AOVL7Qm9OPQwzz/rSQ1SsTOFcyndN72SEVscHwNHfB6HD8TSqAyG5me1W/iqyuwAhQNuOB0QACbjX/aOGBnKY1ZY3J4PooVwz0IPdOBrvoSNK9Ktgq83JJ/811TpuFjrEuk71RTI1yQ5cYa7FdcZGQUJDZ7PxjMuGMez20ttCrDyFftPUkJ6bHZBJOaPx7F7mgHxxJdSUIM5PbMs80MuX56aim3JKOw8NCkXbr6mod1QF1Ih2RIPvdUPBxK3gRxjIH96Y3U0nABZcpCEdfYp12CEaASJ1SCGHVRMigwsz7ds9V7qAWC+U8ubfh+BcPIaiuo+YGeGbgUjFMDwZeYh6WBxiENG1KnpL6Kob06H+McYGsJ+TyisfXZq/nb88IXEqt8bWNW77DxGdXpxiBZni2OaYOQqcvQCvNuYUBy3WW5vN0PpDTmB/knXwkqHPrMorCIE8Im4F1dWvNLxNk8WS1g0nrC9b1+Q0RIhEppqSGFE4Vettplqhn/fnAlnvfdZweccLTVR+oAyakqEnQJFsa74yfDiKgKKjBkMzkTFB4up3+X0lNWmO0kDLZphuUaVVhWAD/Pd9ux4yoZ+t78+GJTgXjmQBv2FQ7S2hhF7WiLQyDiYzNQ31ssTArp63CyTMfMIJukN9DZsejH4TfAaPHYLjL2xs+amNdH1E5B5HaU7hzB9TJM9sNH9/MPAKCnQYRedbXQV2kdR176dFcCS6OVJRObPiBNlGNN0MESSrZ1GhubBzBv2p1DaqUhJPr+qtgfgA0003+ynbMQ/rlhRRAze6nZRQVXMZpjjrRhqrHbd63k8Tngh5iSxI2N0roAxWucqOQuCkq/1J9GhaszrwhX4H/fpZQJjdPAzEo5UaGOLbhbyn6sgLZS4BbxDcsByNo/AFWcOYZCrZDKFfvTP5ASJMigdqit0UuNAx3QwciNaEpBMbpt0Ff0BCOzJgKS9LE8gSRYYwg1VIbaeTMeKYn1VxD6fWgnTPPiYXQ2Ss3Lhbkzq7qw/5msxxOMPHnZBqDoYKEAKnPB6WYWv5GhUUWx22YyQTk1xqtqRrx7E3AfijZ8UCHJuKsFQIUH6oZY5I/UCbM5dHVwaMda/VEcYxeAYU//TJiuO+wqeYsmqMcilb9sU7Y/2CXjGEXinBeFHa0VY6X6ajCsNMkE/kDoOTi/Lgx03xogFADaNq4KsssT7fjclEQZYhFsmjBGugak+bJvqz/JesgWbSPROpS9Kcj5fyKGOEucxXpoidLwQSJA5WLlhS1MnEdGw6ssDZQNbGlDl8VwckLb/GFRFFVzjms3QpWIZZrS9cZC/EqWlxdGdXSk+SPnOZRjJByjRJSMKxHk//SrTPaIOsE6O14Jo59dB9q2T2WHy44cPSuButs3XHmdAsDzr4qADAAOZGtp2jXZiP8GVT8pSpeHTv36b8xirGKl3zz8o7A32mljgQZiZ6kICE+iQYUq67czraaOZv5QawJD32gfgQKR3U+COZFXBEBc5kH29ve4BaYQUVYKtiEsLln4SKZAYMTCZlLd0FrFgG/86oiqfw9NKpnIXKuMySrqF0iOYzZLdkOGDVoT1RPYpPK9IE1/uD3p4WBQkgn+DuoPz8gzKSyTVj4zxQp+BYdBNdgZFpA1Y16ZgcZKqpdv4c4bIYrLtOAURpEFLwUc7oYHTyqlLt98jcNM7ma6zb1+h7O06W8FJYOyHsb6nwrxIPK55KZQ3o1mQ1vYKwxEwiSdfvE5N75xGRPFAOrb5hhOlS9EMapvMJy3ZJGJ4mbRTEmrFnT3rckcseT4Pd2NHjmL/+YoW6QBfWTZPl1oaKynSWGz+uWTj7yMVVVnISNoiBBT0FCu98Wq3iLEwZJEvCQMxOWgAAExkhMeB8eH3eDIzfWeL67OexgIudYoYM3xU9eYLUnSzz4PVqpXJlnsbMJtkq0pIONFiu7xX3kazIgRMmOFUaxJF0+VuA8QMhuVLaBN6RxPEpRmoV9sFSzhORSS+pnh8CXQ82XbyISpUserJRioQsMYyjaZj48r02xZQuRhdbnq7krB76OIJIxcaONbMf1wdVTMEeSzkWI1luS+hcROzdS9T58iQJLwR8WyTxND9/3OwAl5uxrFDZkcYbhFSYX+tew/4jYjzuRuBb+QMB02b14ZDo8zuRAndY4msks7XQXvBL/gzv32wOPD1My60FGuYkTsmeY25jMU2VFMOwZoN+NopNht+ak5SknDswwprcHNBLYpn1o1KkTvj82aajd8Y5tLZzQk3tCP9dUJ+31LEaLALUt9Dzt+fRD8lEGqxVHD8lScq6Mm4sNWV92E6YxOVI2DM6AmZLsSDgw36RDZjlwNOAA8/zYBgB/doexqP1gcCmdQOPy4d8ocGiS1BpN0afZ/TIcGZWwk5xnoWqhFFPP1zqwl2l23K5I/SCQzoR7YvbwyPD4ZPN7OsWyu208MxlTMzQZ2uiKVRtbuNA0dzJ3LOil6Ytd1SqiJVMtAm5nR1lPWEJTgesv8g/m0yyWxJ10mAzbgK4kaX6mBETRYvRICU1QAnUA1j5zKB3u5jCNI4wHkWveeMya4NMQmyn920Do/DyGtpr38LfCKLV9PvcdjHpe6Au3m/ac4aBRWFVEPCSdLBO+zTU2nSuVBJdCOcccb5Bly/CmdwxnpSm/uGN738QC6hoaDcX3ctySL9d5HOruVt/4hdsfq48i47jQOtIYnmdZQ9WiRUeJzoMT6IdoIDWQL3PGHngSml+sR0s/TmUgQ0HBls5olP1Zv0Vdb2jHdUURzsO5xDWr0gL3/9KtjpfBrU/jvtZcpCPh9PT1fXgfLXWMGefeYQ8VYpUEXaAN87EagMqaLwqGmApt48VVk4rRsXVfJsz1XwVrC+8I3rPKl8vTnSbiV5j3nq/uZldiOJiSZdIFMEKR1dZaHuMZr/I2O4VaTOiwnEFZDQ5wdtt8Xgn2mJwqHH0CbtPg5MDHUnuW1P8eJeiJ1yRoDzwKwz0mdQpYLKE4V934YQqwkqHAsOQ4B1AzShZ0X7+is+HlPto/DgAAfqey1uCi1QScuLz5GjQHzGz74RfIkmOTX3fqniLXyncWxZ59Yye0Z44I9V+b9hF+wtL2fJdagE5fiRV9i5OapKHdZLH9+2mX/Zoe4oLgt9JcJP6lM5nj2C1wGAJwthiPnFPGFgig+CBITBcXIYv/rrn/pEpVVuH2nN7/eLW5eHC8xYJGA94frh531f0AI0QgRkjMEWgSq5zx52rW3hbmPrUed8oQSQM7jPkwQTCEXaVpAYbye50pOOIP8o0xqjJ6Ax6PX7sC9MpQfQwql/FiTEAXDsHevu1fVVYhtcetOhjGjDsfhCBqdPxX4hMBgk1m1Zk/mIIjQF0WAv8ZhaqXTtFY5gRYW9xj6V1PncbY0afIONYXJX7A2TLAO4lV4bnJglf0kUxd7FevgFqI8+scLmq8s8QiAyDJnX8roaXFkBT73Rx39PAYhvzjcZQBsoOEnwwplSvceAPDIaLmqkB8JjGFqKf0m/K0bUnGuB3myk/aw5SFHBdEazSOFQJ0sl/FxOi7Es3esxjQ3rax4OaaO+JscT1/1/+V4kQhle0AiO6rCibcbOhqGB8Gy8XeOrDwHRywmOKY37gOgfss9Wgvd52kRwJU6Z4Zwz9dTy16Gwa8GVSuNvjDAG8Mno/5dOP0RQpWyxPjcaBpNsqI5AM6mciShnNR9KDX3eVBq41H4IaCiCU3/4LBEfmdR3TCwtcgpDpFsYuxcsTVEczhkUIQ8qsCEuXLdpkWeelFAgVLC9zlg6NiE+cMoiHlsSXPnGvn1/s6wYQKbUUrMIB1x9EPbAlXcraJYhzfktsMAkLIDVJNr0MLzJm4jp/S2KAuAgTjZwcoVZ3A6eRqno/M2ZvQBYCUs9vGr3o0zJtTQkEKKTCwu+gPaiOCYfooa38aS4kbzHGXW7DEtFtaW3Naw6zZabUtetm27j15vDl6FZhdXNVMhtnit92mK7D65LN9GBD5PRSaOd8N48REccdO8/3jni4M2JuBGPlMIwjxtxN5ETAcFZXwcEipxN2/EWEa/PnRD6PABANuAjjzRg0a4dMllmMtUgYxfPiyRfkjLviR+MPLgI1TpiBJLXBxB8hVycP8XgGzlqqVwyRj7FWwCNkXHKk0Y2/nAEn7B78Jm7pzx6miYCfsWda3meKx6k9/E1Ym2flnQ1JNd5SSuQGhJ+r1OfzDAmgHuyTlPniSBNThFGyoasYeY2ojuuFma++dSwM5y+jmnfjYEY+IU0OotmoNsNjDRs6MeFOfpNPOj20TVyGAcTBf4O6Ui9YIo9PIPkOKP9QncV3yUq/xlKSJdAN1649Geq4KnFgSWMqNco+16t1jwrDIDq11SrbB6zRB+0wT9RUfPF/ImkMxCnXc+Bk3aMOt5MPi1/j1S16SyWLqFRISFtzN7l1g8qQrWA2FqzfxWEUfKzY/BPz+6tQ+Lqr8PNhXAxQ5Kznfxe5/NLxuN+SD36DK5spBM9A3x82Sw9hXbIziMuleoCi/epvJFciBgh6RkpzYxTg0kZ/Lcda52tMPLW+gwtoGJObHICg97TeDq32T1IwUZftPwv62NJxBGg4AbO7xAMqkiZT6PimC4Evod0rKEd6TNGKe0Smh80madB/WvjT/ixGyqr/6n4+F5CU56rInKDRbwxKf1GWmU0UsOKefYF5VLOUIbvxacbRJim7tnYRCN4d75ECq90xTi4UdvyPcNki/temy5o++wRI4I30gdTcwUiEeiUa/4d4iUdjQid3eXMqL6DqmJnZoX+MSFJ3WZ//V4fxQxbeFADvbaUsejg0F/F+NZ0zmrkbriVfpGbioBnu0nFsJ0rlBUInNKdTQ/RUNZtKmXyWHOEB6VbN6UbruywZcUEpcJBlTIjszicswUBO+1AL0ChxcH6BEodKrCsi9goYg1YbUchXsfD/gzKT9Q+qB4K6MxVfrKuT4sffSiQdylgRP4uiWpGCIdu8Gdg+DFaIPBWkRgAOhe2JIJyMwqIXknk4LjEn8bHdWPbYzR1UaZWQCQodpAU0R6lDBU29sStvByOBAPpETd97+Q72eR/Q46nnhI9MjT4EK0fV8zJiO2Hb+HiWJJMvLkk9ToOzJxdkZeP5R2m4I4sTYYZzXboa9MDatKBF7q7OSL19MOWUZrJ2mQpOaKfliDQNsUd9nQQmqRVOABeXCX9bRD1l4YApJKOlZQ8lBZ9vEieN20MAnxvSi65A8aGMt3kr2BpMW/Qew2n+gOfezg9ieReol/0s2JnpX86GEROukIqYF9aytQjkhdwQdUE3ansrBZYJNB3vdk/IiDF04NnVyQDO9+qAyTmhhy22UvC4EWpt9pDAG7rN59uuyXeIyQ86s1i9ZBZvMDo9bA1VXJJ7v3s0g2AchtdtNXXjrGB9KWcUV5D2Xgel68XQe0bPCARpT5NLJR/IIoDAzKUGQgeFQ8FiAUuuyu58FmnahjSzL+2OA4yFBv0S3HxfkHMGNO1zl+kQyg64qqFhea4lCAG8LtlIDSNyajuMa4yxNyHGam6DA9Wbk9ecNWUV8EVdy1Z62ntS6ixcAztdx6A1dxODBGWc39jxqJ5y289/MFmWcf++lZ4nqYwC4FdDRXp04zAFh9eLza7610tZ52VilD6Rl82TYatlNQQnKpHwuldy1YI6Ox6ybcmADlQgYUSvkWlClv+zSxJkcXfBaQiuWqXm2PMPCl1dUEQ/4m6nrB0oiR5OXJXtJIWQt32MMIFm+k5ycfDlUCqAfZRutYAeEVXkf8/Jc/hZ/Fc3jglMabt1BPYcxojtFmJmyGKBXJYGl//ryGZqhaNkx7mF1xa2+nvJhdMXa8QlkFch8OGUC7cbSwQWV3K8hGWrkclkCxi9brNy8BjJWnxWjRGG7ns8ABsySgVYXjD5Tu1Bi/FcJv1d2kp990/a60Snljc/MqgiugNLq8VY8/POBhnOHYda22qJ/yzq3W8HD8+rawpyLjWAFWKAZm5w3tDo066LXid/shRs9FgDZ8AYhRM1eF7eCUKGw0hw/6vFSCmi6ts/0I/bn9y8PLmwBO1KM23760JK02PwNQQN303cTy/I29GBAidwL5lqmw8Zacx2X9w2xorSORbXXQHPF2dfCvhCtVj75Ra3OZ+Y0FVZfTwyH/GIT9H1O+64/44OKKYNRAKg80y6/CO29QaGDNbQnfyIIc4G6HJoiq01BtdYaONpQ2haUZetWhq6A9XnXfI1n6fL25YYYbWhmXly+KRoM8GWDzWxz/SW5mTMC9F5BwFxDqqxMqucLOsvELe1LSbmwdVMIFlXCW9mHJv9ECHYRhX+8mCNGUAjjMuwItXfh+c3r05qdbC6HffLKf/4rK/RJdYJkSX5l978QOSLHeqF4rfbEg+wvyLGmCykJ15egpIh1qR/vL0dVbDyq8edOVjCDgej1KNa0wLzRbnO9pHjATLLf92P8/WVF1YDXsDJhWr6gQ4U7aAx/EQylW2lbhYbc36vneayqLkHKVRvIWcrpPP/zfM8VxCGz2x+19+dhQ9E2f4JsOL4ztvxJMLEWGc6GI6WvVK+HnKVcRsV3Tbb1M3HQOMKmWEpNOPLTPrJYwnMQZnlRN94TFcTBWQHTg9rNqJMTya8ZoCLjF2VjJdITAc6WnZq4Qss18BpUq4FbaOcQzB4OnfplZpUotWcAgRp7GQ8fMFRGlWj0FP0rQgcVDOdn5+vu+aOmOKrWpmifnpFefYt7SmhHGUIHe5kfmYJQ6HNBZ2KKdfV0s9Z3E/jWzWMqMu4d45X0cQ7GM6DhcrzWvw+/4vxjELPYadp77vsYTqdLPxZo7KD+9RMUFZnCxzUdIMfd1ZiOKy1fCmQlehNv6z908RczdcuS7l0S3azEjLskgbdgNy3/Z3V0yG7wjYHDE0dZvcBtJeQhRTJS8eHIePoRQn44d5Cowd8PP3pfqaMzObNbRyVAj2pPRn8BtYEdMjlEfPOqmRTYyAzXfF8x+w1Xbj9M+cKbC2gCbMDylVgdg1nl3o/ip8ZP7QXdJMPH0uFJQu5iIKD00Ohmhh+IIeWwHi9p7Vevlfu+ifcbzCnIhf2f8JULgcse4hnTkjDWBihEZJ+H7QRWGLf/6w2iKdz+OLql8/7lwprnZ2H5yBRNDrKxERrcLHWtVsaT/kfwYOgkGnAvlSe6XdhPvoCAQcDQNvF0kymSy1TIlnO55ZnZ1+9OTKz4kDRESow6pJgwrdSyh5FUPBCBwcI4mZK74I7oLXrPhfbVaS+GAYhuxxktx+je5qTGv8y1heCgw+mJWT7FIUmAdVGETMr64ZD+3HElpGSGTeXoJ8436dUEaIj2xrLZpDKzR0LV3haBZjIVj2sAyKyqDrFOrGsTmdp+NoDRz1a2G0YeLNbPfzjVAfhI/5yemjKwFxB8ED5WL0MMjnlOc5SmBxhNX8ne7yzF6jlCVYMokM+l/4idSY5miGIqwdqJcZu7GcRxXZA4Jt6JQSwZAvhsaKwXS1oYtRBDWIjalyrWbez5+wpzhyq4cXqbokd16WPgf/fMeBr8LCkqasYns0ftZvV7VvJPb74DCzjwY43wAb3I8HrABXLjtxAbEIsrJUYxJODkTJ0s8tpkv51T9dMqr1AUUdFQku87yVqF4M1mkhpem6u5O1RFf4vC5pbyStboaWq/J462rOWxXSuMLZoAlw8DcLMNhQ4F4XIzmjcOYtO70FCy6VIodsIP1mRJ/W2tT1gOh2a62cTfaNSKpkZOlLm8vyFRfCLJUr4aYyW5yhvSO3CNhDqU+6HpGdAVt/4XHi6AKVG2raYgL/RPfZwUC6xpxYB8sP9Eq1aQk75OYuuLA2ha01Mr0L9ILOYfZkOucBHpnEwFu9OcaIzFUGmCkhv8XaX8AKUS5TxBuVHOCELfZbzf4AGQqISvzBZt943P3S+lcsOciHPLV3LNXQqGrMVAc4rmtPHTTBqGCvbuHZwzuatMiyiF7NQFUPdSYA7XQFRmc5g9IOrjROCryK0AlfxRdqM0FrlM/F4WnjpIZgL0lJNR+Xd/egulYpGu6NUjFW4at71y1kJgy75dn01OtTUQCvmEQLUqp30Ab0V6tw48nW3EVkAJXs0CO0AHvQmpjAQ3Wv1T8GyU67eBMdIzr1motM3XfY+XhzZNl7YfuCEdfxk0JmwHSw6r+Pnn2wgZfoJHgCMgteCFodVOTm2dwWdhKPvq9zi2NEsoS1euRhoPQ34gOxcUhBdGjMItJFnnL1cQJVxTK0rwxpJPTlHw/Mr9USFnQou8eu3YCDDrWkvzTf1qJUxHcHf2J7bheso16jgenUvQqymQWNPws+u4U3Gp1TsPabTKGDBDjkgqqdIBt6cP7FjsDi0g9ZvMAObG0foc9DQFA6jCeVOCGTyCo6F8zb7ikf2/ssI6pCdLZU2fZu22BTYF7LvFVt4ullHOQBDjn+Oim65TUKiCNFoqwtsW4Lsg1+z9uMttGCMbtXAY0R1YI/o1FvljfetvkcrrpAnat3IhrWSYNJGRt6LLn7KaZPH1NDAqUlPfBhEdP1QITcdZ7XM+sX4YQInmJq6CEb41Wc+XbxTLiM+kAo+3JALpNuy276KKQWKfucN4J/mHssFUSJ6jd1lWjWxTklPS4kx8goWW3YhUCqyAOH2liDQAr/dPAh73zEwJAvie5idnamS4hCBgwamYWov/A+KpdyQVPSBGXSZnWlEjsWGpcsqBHKSj9Pm0TfJdS26VZIaVvw3Z83GU6Pk09dzbOAZtLbSNldKF1MF6e+87D/KY4OKvzJGjhQcKfmF3X+9a0SU9muv5Oc1eFftD0qK2QrOu2KmCsJNGEH3q5qvovH4SgP6MkrGpQEL0Bs4c1tMERp2z9zdZQk227kYNp/ujMJ1Qijj5DIkoifkPxJNhm/DBE/YRQG6EU+rPuM0NNbuKh0uYd48KBVbX04bFfNDlBlJWXjNHS4zBiH3L4JtUHDgsKkp0DqD911FtWzFbK7eMYilaLvc2+UMNLEBopvWcUMA3QkiT9sj79MqRlxPt3V97in58awQ7ZMLuiiQ1gf7/iMUe4b+xTjZiOktfejEwh2mOFEBDhGE0/ogSfQKBZQOvJM32Zu5b0cNdam2SP5lGbypvkiBbiqgvobwVPTHi9JcDxRK7YhEn/oU9dQV2QgHHP10UMBxDeAKWbegVpr9cGCTBjuqrfQ+uZcxTrQycqeQOKoTHOZ1shqw6k3FsGw3ye5reILYTTUS6d+8rNuIKwyg1GTpDm2RtVCK/IXWEou7ykOCy+MWwJI3LOWnlpmDGR0JMqiPmCKmHrDN3ZFJgCpAnMbNQAytJVbVXHD//81rY/U5MNKJGrPUEJf+AIhjqMk5A4iY3V++k4H0sLm6P8/txiPF5RDdPXsU5jJQCXyK8P6P6JLRzJz0JIYBjhGzi1dy9I4KAZ+FU814pLExxv/oB5zruc4UM0RMZl/cCn1nHo5zgvBJpMe6qHFxCpfDQ+7f95fLWRDVaDZsZa4XFfXZPi+6yYo4LgN9X3KgvPA+BecSb1l0rsLqjAz1K+yS1ZF0J6iUxwgylQlI/EV6VhfSHrh3IprG6mJyVmOek06AnvQJb/6iED/qF+EOdzPfecMl+Eu9O84n0JFZhZQcPmFjrGbTHQ5fuV3gGMbuK2TlQHcNWzmDmwir3fb6OL+wEQ5RIrMbRHGLjaDh8Dq2vvu0PUHxkfedwe7X1hLiqy6nXHt9hb/AGhQ9PBYssFIYKToiAl0az4ZQ/lj0IBzdbvY/i8/57fC9kmNUGxVYnwoQZUqv2uyszdOQhDtqy8viA++jmUjGIYrhq1BXJ96SJ8nCyvQe6Ef/aZRZi9O72wPvmmbbXHrjUtT8Sy9HoGjlF2OcEE+8nU3nF25oq2FIcZu7IMlsotuH5+1my+ENprDO/T0Sl02DYOh0XJoN72YxE9Y5YvLeN8/tPq/zuc/ymIIHvx/qNMdlihOMhBqciDjC4/onEtl81JsPtyhShNCF+njsToPwIaDicJzBK3hOWmQ+eQYaXTXKwkolNTEj99HzXpEcezY+14sM7uLm8nRMtWMDhlTyKi3UtZdhGZv99h61MucfJAKanEXG43xwxeaz8pON5Fu3f36L7Tf8RN7+ojkGaPYQotWsK2A78uVGnvP/E7SnMvfP8vtR8PnZ1sH5MnSv7CkohZWs2p0GA7YYFecn92DCgMA7sgfmxKr0Qfy1iSav9FUo/rFiOtZX+eZyd0mdOJFu0tOS8fWIJbOcGNpWKKhqc44U1XXEO3qMiqc5+pOWCRbegX9FhsBDg19WqAivAvbbuWTbDdYlgGuEgvtjQ0ltlT6OOavJa8nLlm/4mUSOgg2DURBJuO2d/el9V8oGxnpQ1wEaW9kOSj5oF6hdd45T5ZzjLpXO/F3lJ0gFkphkijebSFLAXTfQse9/8JWtjGwcLlwWAIGkLuG1/M7GwPqTPkK5Qc1k1d6E/iS7fs3bc65k6bYuw+klvS85D9UxFyGdVXb053nu+IVM5DSurtDgh3nsggLovgZVla9Iq76txsKBxxhBg2bSn4VBjW0AnNzgWFkF9cMaWRHWtjxtfjfnnMmR5eQdgeWk+ZPqXy8Bdka+a62qjjr5Y5JTnBgme/OnAOoXGGxUv676liVN30HpK2PgO6iUwIWhLGtCkZtjnTC9r4/G/DiH8o4U8p2kwBf8vnUTlNCZNNOcUUDLYO+oBEi1rKXeTbYAUodgex6iOt/3gASwKMqR0q8Cj2ckc1rJ9bkuRYoT8+Pp/Z3Mjg/q4xoGmXzmuEJmS+XlMgdd7xd+bIIMZeFckTwS79A5dgEVZFsAeWjWJPg31yZmX0nInRZrdJPuoHxFuNSrTVHTYteHaMqPSAToT7IqdfBdtKIP6ZjrTE7xQln6IGw7kaPkLCTn79HZo6j06kz9wAabxyqDjWFxYfXRj+DQ1L76NVyaJ3c/Pk0nK2K0OjPmUbpq3P8M1OkVvrVku7PAbLNQa/CIIxPH9amjk/z89pSxZTh20xrwP/akOwnxhCA6p8vTQu0sDADRJXuI8fxVEsfNn1NBtiikToM3PdaaavFKc9ODuq6NvNgirHa6u0Ha+whVGvSTbI2JPK8fFs78GlNlANoCyuNfeZTVvcO17oy+kDZSBPyexAMUdiouO7Hl9PJ9M4/ARfJFpffY5d3reStYEq3C9Pug/8NYCOjb4qJtMXexWk6lo+pBX2/Xn/H2x84GGfMSL0xVPVr446r8tu+ghm+BqYohXblmaVgP7lwyeVaRLZdDzEJ8606dnNPyI0A/a3k/eMcSCTs3rzZFrnRzl0L191kYCgq3ttVItwo5gGqHCgwgebkoSXsk8MT8JSIdt1UPeiBWdcH8DuOb78P08y7Z8DCj3AukMQL57uQScxPYdHTXnZDWFopceXOBa2fYqxVia3SrFBgUgc5Yr1w3VVG83JS6g+ZeHf3iAiA1vcLhmKPWf4cHs4MeQsoAH1OBPfjWFx1uKoCrC7+s9fktRCa68V9Wm9aZQF4pJgORrPnDYQ0qvlKcoSG6ffkqLCNzEVVTtG4fSZXTLa/xTViImUIo/FAUaOrbC/E/Nj6HKq0hZn+Ertx/GS2LpKzAKCZIKVD5+dzE8CRSccbqUgBCRJxxTFjJvLSD5jpm+mFEzMbNmSwdhftFXKkLnIPZNzp4i7GsHnHppTMjFj5M7psaTe6I8heSVh4vqKVIQhd0kyQDtc4TVGUrmHGsLO4CyDhxyfXCzmNKAwWJvRHVw8bu5HIc9nrqXtg+vUOvnw32oZ5XRnTTCx70iJJCJTPbY4wFCXGK6M40+UIBspTAnaM4GmupMDgsZMSiUl63R6fCakjfP3uW9ECdkk4t8B0yix4c6Jf3Smm+aKivcpde8hy6u9sgAdDeg1hvBYiYjolgI9MkDMxHNacVYDlT6cRqMHNTuLwkxsk5ZZb54RTI6yWW/9jG5cx8c3Uw4Afa4DTUKHof5t7qd254TJ62VQfnMKv04nKxAzBIznn6cI+UnmGmVm56mO9VVf98OerVCyCUaq/GT80D52qwzTxHMU3BbE/PzJQPwKietRIYKCO5l0a3lWpRVHqFSrbfFFWVPoOdAQSqTj8u/D1xCD8xzzBeaXnU3tOr4SvP1RNnMDDL2SeH05syEm1UqWfPvAQuNEu8LQTutB5GWMvivllKBbmdnP7zU3pqMIYFYVy923xbOZYkmtRZMOU9BK0ffanxAd2ApqUsojuUuC92K5sMVgggZ9D9GW9XTIS6gz0ed+Zj7gsyZUzUazWV5LVFL4VgU0Mc1tjJNweR5Usg+/0b67Apxtz0dYbhUcX93Lo3f+t+AFSRg3wW4bCy3nbD0kZ7NTIzzghVti4omU0rsunu7BuI61ic2ZmINHWNkAJFeErLfDCwyZVjpj55FJP93QuSrL3c9j8PUW+E4mBeOI5Ebm5No4+tm8bqHzhqx1/5rGdZ/pDgfmvUsNH2Cp9VkEEg+u5iTPLzEd8VjPgiDxThseP4NCTJJFzjEn4Or2jTwRMU9Xaj16i/JTQcVy0DtDdnx0Z8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35280" y="1143000"/>
            <a:ext cx="8440614" cy="4571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1218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kern="0" dirty="0" smtClean="0"/>
              <a:t>Performance Dashboard September 25, 2017</a:t>
            </a:r>
            <a:endParaRPr lang="en-US" kern="0" dirty="0"/>
          </a:p>
        </p:txBody>
      </p:sp>
      <p:sp>
        <p:nvSpPr>
          <p:cNvPr id="28" name="Rectangle 27" descr="Enter Chart Description Here:&#10;&#10; End of Chart Description&#10;DO NOT ALTER TEXT BELOW THIS POINT! IF YOU DO YOUR CHART WILL NOT BE EDITABLE!&#10;mkkoexcel__C:\Users\nlarson\Box\RIDE Knowledgebase\FCMB updates\Chart Data.xlsm~~zzMG_Chart27~~1d165b26-d8c0-4608-8572-bfb537b25ccc~~636415178352212596~~$B$17:$X$18~~False~~False~~Falsemkko__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TkYySLXg3TSIe7gT+Jv77UZe0RmzYRcx6bTFN6TqXnszDIjCUNmqcQUdNqZNFuZLVRZgvxBm7RY1Iom4nOb0xT/7vTE4c7WjWzLJ4zpVyYtbLfZuitL1JD1qJ4RCHFp9V6kM8YvqqYUnPe1NVzY1HafrwuKGkh60841lIy0Ikic/hpZ83y0D/4obcKUAm8caZb1qWG816rx8liS/6UXpQtgMBwzDTPVZQGP41BIwpIQSxag5IkQMYBZJyFuSjn6LUwzExtc9QGPXD/D4ImqgcT3Vstbyzs1wMPXYWZgtfEnlwkRCVib6W1bRnBY42kZnd6gUDastE5jUlNhI3xQetWNq5Yg9tBbCZms8+jZ5cJPJxOmSIpCxLmkTOUFmWew6emhhlYTPcdDdP+ovZufOI+NN5ScCdL6Au+rl0lxhgJO3XyMcAPAI2cw2h6dDwp4N3RRK4mU9BlM9NCCL2RHawUg9YGj4ErjcJam/m0cGNTMAb6z9TqnkmB3sMqp1N7/BhR6F6m5y9NG1S8QGUROTmqXI3d7uikSnOOgXf9QSgnoPHLk8s1jlAUcyCjzlj++ERIxu8LqeLPx0G4gw3xJUU339FcqSC0dCyq3Lj3SA4a5p8Oaj53N4fv3QbNOh1nw3aBhLnwJklFWyNM0iwGqRduvWniuzq2GCgrc8RYr+fAnBq9fARG1NUXcWJ+PyFcD7bwh2M7vmPJLUSxFlqoQ6xdkesejhVTeKnygl+405zCHxYD8stYp6gQ1WB/a95Pz7EAgGtg7vudvic2haF7nZpyLRhcsusHvOI4HBIEPCVPzY+8WpucvFDbfGP2HzFCD+q7QdT5CC5ZxhSnsWkSyy1QEHVXhnwdPFMXvZzvRvu/+YUrhCRIZJrdZqfZv/ngrYN43OlzrRGJu7S+S43WHNCuLNUdNai/gt3y9BKtBbQJd3hmJM3HHeVaeaGVwi/rNk9sfbGmIy4B0F51dmQFnucdDhXxvdf2jY75QqLTFdZb92aDWNWTT7kBFAprRwHV0bjpVlxRIxHtBmVvyBPeJ79oFY7eKiLYBOSF6vBr8WKlv8pnYHqaRqgeP6ErmuWFoql/c1UrMaCOE7x6kNndIdmlOUP2OOwaAk96+RMMh9/k9v5mPHR6WBX2q8PG/bYRjNJIW8PniBGRPCl2eXr8oAN3E/827ERk3hH22borEubiSPpQu2EGQLqA3oV1O83+9XXVliPyswjzwIMiS4gt3rAEg46Jbocwb4CwH7yD0sowxHaZd5y8550YNdJhjAbjivYii/RlYFH8qUy5cJziDgRowwjuibByh3kbSN0sdMMHqWH7hw+xhSUEuR8Mbq5Xp9np6twGtqngUBQ3aD6B6My41nYUAL8sIUzpVU9xYibBWLXzyNSpxZMW4rGkjTZ5nMrmgS2TomIepufSfAimieezE/LNtzaiJc9rlZoCRvHtzslGkb4Pu/+ai+/F6X7X+2WabUqDAYKwaWTPnwgFkcxdDIos1mZU58hRXFfV6tq0cKyMWgO4IcHGZIKeOecTzpeyr6QBn2sOBZfVDk9JZ9y33jD1JQ5gSFfLGSFfgcFjGuuaJUaSrgjkGwmAwYk3HsNlg2GGv34Nmh81gRPCG+p3IvCCBgh+F5h42q+N73FbufQ4/GvBWfI6W1rURrSXGYRTKDyVxRFOyRmixKZQfpWZzGSI8LXjuJbOCXdWlrE7r65z6f1tCpkkaG8DbHtsQPWFYKIia/HMWO6YtJgLCHkGoYq0VleZgGu9s8hmxkxk6fczZWTHf03XlejXgzw4Hcp7neBpRmw5hfMkYKrY0p60JhA63UDbc6IrjGWCRqwxztU9hTGHeAz+2pdcVyYsdMyI5CV+xH5XdZxCR8UZC1XGTR+naBzzcDyaLyBs+9xps17IM9cm0DCKvef32skBwDwbHD/AyfwWorvfOPK4qXNcuX2WxwfB+570/gKQ4p2AxCnZL8WEBqAkK9+IVGsvk3IYHECDLNp7C6taHQi1HZepNOL3oW1eYs+cvyoKdsjHO8SaxQglL4gc0bpR4+PBS1akYsCbH1w/1J35Du+sCD0pu8vJXGR+WPcG1IwL03slyCjMG/btNTNqViozAn15mmpGLvqIJQXIJp7fVOISPzR2pnO1oOWfbvFXF7cVLKGJMRKK7NID97vNCa7sljPrI/O2z7qaj99PTfiC3mLrnmVEVg/mXV9vMR6ixQuKWMJXDmnP1ias60/ZSMrtG5F7EvgVhmM+DtL+1kw4HKrt1EMnBNpYQhalCdEvhtxjwPuVEfuQfEK7h+vU2Zf2z7mS+DwzPGRZZjLFykUAODB+NHbwE6KsasKBdOCFnaAaeG2hd3DVKEC5TlKuUeO0G57H9x9zxSYcqjHx2ZGPPPPZj1MrZcJAoev6GZWGUwCX/0p36YWn9iZl0ejf6DRclL08Gu837nsq9nsbQT286EwKkU06886dMH1wbER9BVZhhecB3d6MYnAGgPPEurnpABwpEZ9F7o5k1sVlv+aBm46lnGNt0/UNcoxjraQTcETuZaC7tRsn8Jw9MNJ/DAJgUK0OCinZQ19iWnkxVxGAdViPyRMS9O3GGl29R+hOG2qAfGThcu89WUamA8YHbLhnde5nxMQDtLLIakkfIPd9D9x9pFtyIVydmMXpCh50Pa5lXGYJwtAogZi5+htc+MI0ScTmRwLxXQMBnrOe7DGfmWGyt7PmFq8gx4MCHA3bywZxAqgrgbW7+W4NVtXhlwwtaKKFCe5RgHfV/oN2NYRaSsG2yR6c0Khghtklg+kakAV3tBnNCvJnfCwi93sZjdtPsvg7wcxX6xOEV0WYfpKn9Kx9JlkkLEkTOe2Yi1PmUk3tm8I94tF0+SbYGeBdJM84O70jJRJahNtGYb5vJ1sMUtP1osD1lDe/KVguMvg/ADCTVUqDc8+txdkDZCTx+P9oGm2+GST7Wb4lRvKU3+KjXb9VKfzipmWWz2YFM6h8aaiVqtTLKj907Y1RLvo/LCdaZJCO8OotCT/3hfuWTjNFXcehsBk54pCFJV6WF1SZydP8EwZDlkz8RcaKlTQ+DZFB58rCptEEsDT5wAaXlAlDLtZnBSyEf7hEyP1Pe9KgjVK+cIW81P88Zjpuyqfy2z6fJEh+T32DAws2ZtMWCQmcspM22tdL1k36kwfcPIWMJNeZhdYQk/mDH/Q9hlQFQI8lL0Cqe/aXyWEVO4+EUzxbqXraKmBgaT9M/xKR7KuX4N27bJMjjPszUIA3HGbCTiS5GelD+yv+65CQhK6/XmOe53mEYS/VrVn7e4k94aR+qxYcK55SJMU6Rw2/jBTVoNA5QouNhhZcGtPpjaje/ipP5F0AH1ZmJe37pOPzXUC1shbvYY1vwnEC5GUWrRm2g3DEM/YGz8XUAFMgZB1x2Ih4rTVE2eIImeS0HuzKH+PggaluW9PpyYDR7rKuU93mJGBuGZxMcB+5xoVSgF4xC0qJ/1oD1rb1KcOAsVsaLwdAowo5dAXBABAs/83LJAufl5g1t0SyjJ6z9uSj4SUou5DBal9P4HAVZR/gdxqV9vTPbOjsBc0bQfNAz7/5/nzMqZEj/8zoIsXbFX8tAkKhe3fiomYmj8QMsNIc1bqXvoFXTZ/9pKZsspmnDoxcbn17XPNfrumzPa3sNWMRCgFgUV1xBIMcW3b+g7xHC8hNl+/k8CTSuPakdfAA/kkRVgDuKKssrDI3kWPMOAxx62QcPZUVKS5P4OPtaY+44dnXCg6K12dIxddjWwxJ9NpYFup+3N93QR4MAbDbkZVGpTpmzFymmBYyysEAVi3kYoXe3cEOo4XKnruqHhnhvaFklj5iW9azD9zIIdYxq1PKCPXrvXKHNyhJX9YVyrLUXddFWDvO/rYZ+7ngDUx5z8fTEMVv9sFq5yhDcgAjuaSpoIvq5DTGXecOhh+RO65diu6MeUCExkMCxftY4BL21bPu+CCLwoRAVHaFlyQurGyPhQyOKu0vd70Fr9b64sMOMU1YlI+SAbbSYcplru3JylWWtKAkmnoYAKl78h5wd2h5Z8z5oOnunMaNcU8fQ2pJycIvV1vK5P6QRlG8rQJGSMTq/L9ggVPSEriFb0CEI4nP5WhMy6HgA5701eIHORzhfH1NPrFSbbrBzongPHNJ/dOSWtOJMPdHE34Y5PLEL2liFv8GZyqw1Srk8A6Q8DUQcUYUsiy/tinqKTFOFejNIXCMwypeRoyifcAn42Cth7Bb7t2WoE6jqGD9rtrP5g/ElV1Q/6fMakaD5+RKLKWi/jdKnneXk96uvkHBn7OcwEl26wjoy/sH40MjZy8hpiDjN4HOfc7D7Yt9tVxI+4tGWnhMK9Fy5djdSFi/JjbYbz6wHEXhHopQxtp9hjKStRzWsPomCQxDjXKnxtwbHTBiosFyZmJv5K1moys7Yr1fd4gslfA9XJYBybEZSdjPFyYohxIgr2krI2iJ33o6c+UCIET3HJWKBB+TqrluUtSOxpWA3e2Qf2qk0sd6qRb4ykg0eXocdYB0H2bp19O0azah9FzvxMT//VnxzKQIwByvCMHm8obtdfAeaOCLKSKkAAKmf9eFFpkKOXpocSEIoUs8HPeHX6PquiOaA7ZuH1AyOqaFtgM8ZbufXDM1a7+sYwaE4e2tJfho5cLxoOIEOb/Vk5zjrLlZ62CQnH0gRJRNbnrPufw6SEnVUPpG2LIslPvHiy8hvTk41pUI2p8m1OMT4VCTKL8xKy0YlBvtu0TNINWISKl4R6Q9O31IwOMYlnUm2eoIaJoZQmr3/bC07ZNdx7/MCYuhk8hoNSvJINY1okISx5nJLTAueW9Xs1a/B1abMNrFQhw74gFlaQG0zSFQlS23pLSvMHsQzF/Lf2TQqZvaT5/VXEfzK/KEvmargAg9Bz6d/ev8oViz84dGff/AEuzJSaOOHxhEoawBAFfdDGGLHoKMLl5JT0k/l8V3SJGruLzzRW406VNMypyY93jWLTWU/fSO0xXj+ITk7PayxDx2/8eXHfKQLN9sj8ZSmsZ2x3g/fWADvl0SyxHvUvbUVbtnQOQV2YjtIsT/023KdETAUVfO4Hq4Wo/QZu8pJ9icxNHfLZIS9urdUaVrv0OenYuks/YeWpA41nmn0lggp1waeFLTwWbC/ZLLx/bL2jYZRz1E/0hmommwdfy3WjaDKa2tblL3X6W2fv38sfOKQWuT9SKJE+Q3Dtz7pC4eTDrh7dj32ymWXfwTxAEKoIWkVdobThYTS6uVAAJUoiraQ5N/rQAnAKo+DRG7V7mIGsIdfi0UmhlKnIoxrISB0tPnDKHHmL4pjTxfPEhL6DWy1y5CQ0uuA64tNFp/OWerH5ij1Gsu0CkUphhJPTGUG4CCVxOkoVx1C4l0Du8MA7fIWoSueeM6a6ZC2WV8UnBO6aPh7X+7RFr/kemcW7rT2oHIpzjwKUotSu9hoy6JBIgeMY2HXfyi0Wih2SwpFv75GBrb8cPeUz8arpo3W9QkySK5r1GfhmnvLge8ytrNaVbAzPYJvHYOxRuAdUM3cLYfAGSvjhYxDlc/GgPDWVqjjjbNapFqcDB8LqcsdhYzz2bAh9jEBA74VF5w1Bxsy6K4F/FYDZHIrNvCvbCQ15YebOwk0YwmTjeE+Uc1TltaigyYROYdsqwdyvUP0s+VOBcRnYOpU2ESbh/UPMGMwuS/Q8P8LlQ4md9rokOrxnOLHRp8Z9Vax604XQNtkWy5HTohYaycozAqGM3GgqcfjMkEWQcVZzaYcEAjZedetWxNq558BgGdMOUbTF7fIihn9r+ZKXx9LKhtctvakNWqvv7ESQrcatJcD1pGDAASjIBeuLCsT9Dc/EEefvLxxvbS/IazQEziJZ4ZCuyvLpdBUkEPBFSFX1I+Sv41abUfiXLh4yoxlxoERgeMt56QKqlnn3wTRPLvYrAzJ5mOXFMc+xLByYTWuhC5UjHYSmeFa33nNP7remSm70+KO6kLwE6frhhnloVsx6lyXc7b0ilQW3jBk4Jfa0Z9BYxcKhWgp0Y2v8FcrGJX8L4PCruOEDIx6cKHkc8WyCiZkgihbRr92SsrjcZmwuKRQbd2aaEqa8aH6k7EAF3Ag4UGRMVEaXnWE5Optt7kB7kjEXqb232408cdtltg1pJmbURmtHYlo1eCjCmn4tQrcAvQRy5+rFUAkzt5gYbIDqe3mzw0rb4Bc5HovQQ2forNmGkeOHFtyjxrsPsw8RZDDOWdT1d2p7qF6OOzK4GnWec+iAG/vq/T6YHYK4ZdkOAyxJrwDS4OKGYYrgBhzBNfF3AvrgRN5ev1NCeQjok8jPezGb7Y359+1kzU7dTuPvceu12xMeLtby2VLpXsHkXGHtpfXNS3T2aehogKXghUKo7zpLIeOSMDk9LcvynnJy3EEjZ1BsKOvxdpPXcd9qvr+tg4R1TAmkENzSHDORZC6FoFtqg/xeBDJ0y9p915wwIaUdIjK7ZOCRXwhjRkNiih4vBKp3Hma2t9+SCGu4ho+W1NRY2drLv6ykENMLWWKpPEEhAS6rulncJif8OmyUQe31eO40jiJ7mGfnsrJ+QTYXl1z0gtEQ3eG24Bg+rMfsIbmqoGdCl2A32FjRZ8x4jGsZzFsu+ocYihSKxhQ3wQylbL37PdvKtir6MvXSFalwdGmKucgPxJm2oOq50G3+KwWkCA0O9hNEpBCDKTLHSf+D2y4tHvMVJDpDYNRabEJTO6C0th7ou+FaxS7+fCtlsXV4/Y+VQuPtpN6BuG/BkNYI6b0tMjrmf798ZjJL1fP052ziBMxaNQ90GQmzTw5C+Wq4wcoRBMMzDbTrKleiCaKXrqVgSqNBe1hIml62GQP9DdffPQlXgePiWXEHxt5wT6wZPRdwbRGNgTAaYzWA9TMrGI/G7tFac9Oa1ylhUxzX+vMmFhPvFrX16VdZSDWvZpnv+uS6m/KIjtAdpSQV4kQ51hw5q5znLgxdvuPoPUlqPpl9a2+91QHBcU8Dlp8V8tJumt/+M1aH8U4vE+04EZW2idcvBhLw4hYzElecrzoed3IEugZ2QhUMEdpJ37wJnjA7/FKBjCxtYaGFH+tX7bacTmKaPjTKcM6F0maVuVozfV5UdqvbfjzAiiww/TEVMe+9op+ZOtTPtnh0EbYmDaf3v0gLeGwcFubrNmevuHRLDnrZCdvFmI6Za9dZLN0+6qamUMEPcXjBNOQm9yTKZpKskswAea9aTLzRzDRxMuTiBTN6JmEldPtjfC1C8IE7mkvdm2+5kewvzvfqLjN4hJE+7XLNh47Srrc2UrMElC80OYCFku9JZjoo2zbtMPXOFi4q5Da71TJBjCFcbvtDskKSVMtp9yS9Nq5Uucv5J+W/F/Ip/AY6m9gpbszQCgognHAx8QjHnW0X80iMg7HUNsv6T0IkHoEtPba0PITUwGLgnBhAz2lQwTUDmDr1L7JP6B5Wlbshkt37sI/3ofuTDmdjC5mem5WGQIH0snTz/PqS8btRtWAa19h+bVjzVA9vI7cNqFECdzyvwvik+CjwmECCM5DaU1N81hLXJIJDR9XyE5+z42MbO2JwH+sqK7XDh+gOB96ZB53Y6xbZ6dvNq/5LCpiSJkujiUfFGUAELtzG27RxTgFU1NHX5K1ndOaAHBJgML+FyTkN3C6DT1XW6vx39IonkT8JHy1HCpXag12S+9ajQ24sBuu6Gn1rzbs5jEh59FOVPMwl21OACw83s4/js+R88RbhiTyV3i7vRxlGzooh14oQHdz1ApG7HdWRbgn4MvbmcWZejhidPGU9bgOmbRFAgrZbKAQRE9o0YJj97VNuno0kPoAusfB5l9DBWBhYNpV0vbpTsu2XLTdvzoCuJALF9p8OkI3jCJsof3PS3hWw3ZlknjJ9O/0ZCCAcNCmejpKqm//v//e60IOPWirjwNpt/TPe77pwt7WDplLBCkL95YDslXBDOEBAWCtT7Nxn796yQ4EH6C57mNFZbyAgfVXflhrKKTSrIANO1s6Q3zIVBy/ZSNrMnOBBaGv8RXwSq+V/n9lhk76r7KBa20vWGJwGxE3OKv85tuSBnYFWEfO+stfid6DvHb+c6rRGZXOBueO9DoH1zIbVYZTX5ndeSRsUEVbGrsA4B8zysc2WliyV1Aoqenj18SxMPIBgO3V+uD7Iof+hf4fxKNuSHx6RnkVY0OHKZ9ks43851BJC/sMWtpJpoaCHFCHfEjcIxTxqhK5ctM/dmzROATe1Ei9+djzAzG0c+bSAwqnxwP3YX/Igs0IOUNpeQUqwkUMpIEbW3w4D2glk7s26ZVTPfpswgE/UJ1L1q4gQF/Q4Qqr3dLwfSLLICfk+dD0yxOjRnE9SdFWhzqdpNglpPnkpM5bD5CPYG6tJfq9HnnOHrEowBvTgJ/yCHHPtH3R+Xh9f3NAMdiajdq6ZL2qQcPQGtcTuIbFST63Au3LhWTQB0ZFxWxV4NO87KVjdsp6+VCYJMl4QpcOF8co7b1FJ6nNMZcJp0tDdzlbVwpflO76hTDGoec//CYiY1FF3DG97o0NTjVGOxliVNv9/PBvV7XSwjWHtimxA40Ng+JZKzEDFGoz7Eehiu3WCIsYcYCnJEWz54w/q7BrUh0XtzVWFM6umowncrIph3128RHZ6cdTTDWHmKUDuhN3wY3OLlWiEd6M4H1QSVbdmBMmcwiM/MtJXYIFxfw5kSAu2AR6mgJMLCrgMKPrGqJGR9NJUike/lAvnBi3UKk1c7m29kB2N5hxaUg6Lo1wghtV1wfw2BTBhAZDiZ5s8vc9wnWkHMm4e64mL8CoHiPhp43nHk/ce9Gg579QFeLo3daHTg4Tqgy7x9b1TuTuRWRFXmeQFF3zHjbJnR0PkuI74V7GRZOQE7vIdNxn9Zh8VgpO5QsQVv4tRR7A7d5JCrYFCBg0o5eY4DPBgmdWWkUSkv97SmU0tsG5Zl1SH6hwuVXGJjJj+8OzIPWO5nETVik/cmXSL7Ci76+wGkRBEvj50gYwH+EsUhKKKns62gpSqL0weV5IYxCNslp510WzmWqGsoFqTC7x+0pTlIR6zpiXaRJrS9jH+gdu8naUW2T6LtsLHX2Aumha635NelyV1XX6/IJhQeB+JaVpYHDSo6Cf+ZoaUWeUedpVR0JGhIekE0AyY1fgbg5qjZcY64Tw/eUNgCA4hvKle9uw8aziEXdsa0MZ/opti00T5r/iaY0U46kC9V3dwKh7J8fglSkkBzsHoApcXUZ6maeF12t8dqLsZH67OGMX41ySz6B8OmTL5LzRDP4+k/nPmrZ2w5gdKLP1wg+LLXrmojJF49rESH5oyKbaTeMM9iOm9t90+pbTsLCv+BfJmNZTsOd9Bktvotd+U3GfktaeeNdRbJLDbcu23VWjEpHkXbXcD7zRaf6cHT4pox7dZVB+Yd/ItYb1CoKGSiNb8EpngYzjcHTQowJefthDnfLnE8YHWfCQzGq3/MHDAOWN1lwvaNYHy9o4I2ktY59i1S7e/PcIdLPFaNVo+iAVZFRA5bKCROdX8wcUJDZyL74j0d4OAzwyGkqtJ2jDTcl4Ug3Uov6eoh5BnBKvhhlGdeo3ZWDzsnYiuQ+F+JwU5AVZZ8doLgPiwIqNBR97ixyVgQ+8zUcSEtIGa7ZkB4QeKX1Yn9FQSri7MZZCORMkXGmOQT62aTarbwg6uu1WxnWMNYs6T/Z2WTSfT4ThK46uFWv9DVuH0w3OFLZCbN71w3KAepDN2KkGBhCW6lZ/amTFJ55JrkdD0aO0u26yDl7D7FriydcPKrs9ZWnq4hVaFAI8tVPoraNL8B6ZgUbb/1kpVaReQQckvJokyRPH+/1NW0btKldpHfnA9Gsfr5xeWlOrzHrZEmNwcXKwwpu/Tg6dbA3H+bDT9ug88Zf0kd6SM22nsYjdBDc8BoeioB00z0JfdK3PoLYOTLBYAizfy39fWJ6zusr5R1n8wkKMosDyoj+sXQkTxgAhlw8mJJxnavIW+1XBCvWhfPHIKhbgq608gtJgkKUZkcIP1Ufm1TCuGphNK1JIwn3C4rjtx+pDosKOqdLtwiS73XFGmOgU0QkEAwZsxTiTAKvAVmcEIlzJJABhfi0R8A721rP6IdZTP35YNmKx0y0uiQt3L9K9z0Z1WjqE0dlSWwoNybhdeaN+tp/Fbw4ZNlYYqKFhfnDr3fM4wwJcGlAcOs3q1jeJlKg7WodKJnBAqVQ7Sj7pLmn+uqUCkEMlOYyj8wP7XVovc0AhaYAQN/XssQwLLyECBa2B3UDKv71OV2traVagISOKy7fcjBlIfVYnquMrK5DygJTZOHdleH2nQST32Ko1m7VGYSzbOgOqvSD64ONsTVFQKWAjBlSmGJG5m1GaDKtm9JGXRpAGUHF3qGpqtngbAYTlXUKfmjRbehyKSd88yTjFMvwbjhFklKofBuPN1vcwFmpP8z8dXAjhjNJdGlvhOmDvToTq3AgsfWh/emtlExHVwj8QKn8BuR6R53SqGbX1lRBqj71wNPvKDlY6nORSG9YCBHrHG7GbE5khmAEBqUoUlH5/6I0PLJ3XcVb8Zhdu+pMjU9fMblmY3K6jBdtzMDPiKbZ6bfM80ZgySuyEQL1dT+cEgjZu9JB6Mc1JyrrAbH5ixsgXLanZnFBJIUWu1Z0sJWMkexvunjlCX9+xanX5FKf6uZF9PgMMljlID8GJDMI9Bwqwg81XAAX+gnhJ4hQsDek2KBfMXU9Al23r/onHUpABjCCSOG02NiGh6+k83tAJFuagWEsnEgudfiQhM+ZUNXhUh6suY/5YyGBJYOczKOi5vW9Qn/wyO8F/yG1XSaj67g/Q/zEyAcJdBeuYiQmAwJuixKei4ayGyNvAsi32DwZfktcGU/eOkU9+yw/L9IDLqOqr39lrnpwYH7iln7ChQX2q+ydWZq+QKhvYFDE+khydYozhrx32QW9n5s0cMieGWvmDlI2xx2/jkJp8BDi/PFboi+6b0QF/nc5+k7uxThgyHbfBgSyzJz975I6c2WDpUMkTRfrqN1KU0UHgBTor5+EafqfA/KoidEK3t4iHFiQ2hb3aWzx4o4CU0/4+un5zxbIpj1ynbxAuE36aw2TrXvChqSdqoCJxu8yUr/2XUbwsEorSL48suHcaNyplEq8MMZveRabiFKyO0Z58blyNPVQ5cIoQWydhko+/t+gG5QZj274UGcn71xDjZbIy5BWNV6wZESulYyrYXjnK0a3CbG3occYUsufpm17k1vEU+1bejxR+h+SDdytkCHj93BIyawirPVnJqr1mmtxv4Ma8gVPhZ3ijbJR26Rt9/EhJ7C8FjKf9cFzcpEca++1UDPYbL/UAxS6nq3HAz+F2GfylpHKCzClFoMAGSTYrjBYZoty7m+TJhob9GzXXyGvS3dj17xqelf9MDFYteUTUj2KlJhp4W1Am/10KxTTPe21Krb4A2LOsfPBl+cq3lYXfqffh3AF5Z94r00+yV08N0Zr32olC8yW4YC+vCFVAH6S7H8TAQVYpaq1dSbbr/cSv4qZ+26B7BupjNCOQqd1L8H43CouEJbThLgRXHAJUE9wwXxTuM49iyNvdKhpD5xV7gu7exexdcik6Bz4yS5a3IUAfeM6d/ugOTE16AVssprMeZ4lNEDIMU6OFrmmmBDrlXiC8rNOiosirHnwpQPmH32gvGFgFHkVs3fZLHU9sQqPUv8qUEmPM/CrVPyZUeV29iFtdY84Fve/Ia2Nd5kEDfz8CXW6WI1gTAsKEL9rVTkGHlfwteg9YkbmrVKHOorsLoz/liHO5rURz4tmh3ERHPC90kJS9lokjm0+DDu2wQ9y4MUt5QYuDO/JSWgL4Wzp/e0fdpw/IX+hsVLid2T0Ponl1I70CIRMzNS1dVLYQBKiLhwjc1/jR5YPA9KDs0AXHJSAGcvV+t+pOir6li5sMvYtZr/ry/P21wxZuZWF5etoiuQwoTTNaK0Hox9FqU+xEvwqQcj1gMD+//bIXFqb7pjVnPx21u4/ypsKSGVdm+AQrutgyFTFfucvYCcW4BPU6+OADAZZ/RTVUW4KXXAwXGH2MXtD25YZnNMlBSNa2+bj/TW+N5A6F2Tk+3qYEiQvTzlfI/9tHVGitBi1p1Km29jhcX8G5wdTsC7VbT6fVa1tJhGvPJJ0vwTrlUf4D5LubMG9qYO4Aj62ORVJK9Rxori4TCBnp03O4u35hBJr6aNyclA9tksQGNELqpe871FrXXOGgSZQsu1ojF/2fSdd3ivF+2qpxhve16ro4myCXD8REZClScPtIAokmQlQ8Md/jF2HlZ5JhxjC0sePVjbSm0UDSVqaD1Lr14pUfF8JOJI4pCpcGaDveCbfUozpC+eU57gqpoanNhZAIhqsYg2KKuzGLSJATgmXX6IycqzcG7Jem9Q1cI+A20QKRxTK1nbG9J8MLLDuzVgIgQ75hagMgATnoo2T38FJNhpjlSqxrlJ4v19hHWGevWZGwMVlJiasItUuXUXp5OyAkPNox6zY+HALNXLuWYdFhQn2m9xxYGPHyHVvSdJM7S2shhTrbVlcQMUlMFVYM5M6LdP9R81aq3pwNb+o3gGwCyxQQKPHQdDRIS5Gt3/YDHWkFE44WI670fDPbos6RpwK0WiMBK+y/wIllIUZo4o+bVOtrFI8LZzMPlhrcbe4c57JCdj+c2jnmA41qWjMy6PnGkfU52p6PPMl6lGKFJmJ1E871Dz3lZIGWD8IysPBHSHLXFdxw956S6JIGl6zcdcWpsKJ/VZsR4PoOZbL9IVun83EfnKwR3S6hDtOCFxdDEPTkHLCgM91XOiS84IvYzIOXfh60B8UxCHWQWu0svRhDAUqB7VsDRAG72d+PpHTCAvt8xEorYta6BthhfWlM9M9y3do1oPHUm8uZZ74Qmzp6IL/Y+qHCWAOtLbu19Q/wBSI26e4ivPqkpkHQW2ieXWiyAdsHni9THaU0BeJVFXXvjPaiGYNpJWtU97eAIUJpu42yp9xEWEXmvih1YwU4koH2Oahy7caQGrYz9abUrxBxWtLmhQWWCWD30pIN6wRosBmE0ZdOGVF0nYZEcXns3KO9DrP8b1LXhe0Iluqb5dyFD1kMse50lFsE09iVNRnppvrnFgx4uTfhmquN85a/s19ME73jrIzMHj8690K/iTPjq6nes/wNdQowWENBfU2R5fWVD+s0sWXnpwQhoUqoUO5dn2yK8qNF2s+u+L5PWzrMOnNy3SrPBl9rh7ygdfhpR+JYjQsv7kTmMTZDBBgY+mshcrpJSCmj6uuWsguX+ZraOdW/tEpPhNqhlTgULMNM7JPGt0G082ftMcgClc1mfgbMorQ6rw19iC9efF9+FJ05C6ufXj8RhvLpiiM1EBtKpLXT4SBqDJEAc2VNTYH+SREkzHvunkNgliFlV3p+Jp65fP3hvV4eX3vFxvjI9dgOp1XguHWUyPwU6RTasuBcIgrXxAatcHgv+1MbZputAWdgglfCm33nWp8f0wgBepzu6fNi6KenZYxcC80XnuzzbG2aMvkX0sb12Ap08mNzSA+e87GWv93F2CEYcF3qIkdqbzCHdZPITpGBHmi/9PgM4NDeeT1niwKg4hTqkq8lUF2hDiCyu6FROpFMhPonciCxuLa0d8vx494yOHifYRfSNAn5scim8j6zPG/1RHM0pH24RQDQKRo80dUvf+4e+khMuSJQO0/XvkVRspawjpmqg6hNFYUQLfV+q6suHu6ioHspjdlYHmJQGR8CJOrodnIi/93ZqYgLrmYUDrV+kVikgABWS+izmH5862gNGVCv63KOWm5Vs+KDgzTG0sTftEIQzYmzHqZjIbawcce5rolIG/eD5lrdytU5LAV+ewa0TDeMsanPyLDzP1RelQWz9S5YtA6FVHRwfMB1zPwzugN+qBEG147z6fbscHqig9xnRX0PXJz7rS13xG0EbJY9xoXL363wByoGFInEysMj/PPxvhyiRykqiIn4N7ADs/4dfJrMXCa2zhRWA6WpFZVrLMNJWwrag2vM1XPUpeNof6b/5uVbvsY7PEkF7+UgxWgDTWA3GXHnH8A9/QXFb0t3DEGnf2wborFI+i5RvYJVXpARI3nRsx2FxbQXB6+13MkoJ1cAwWaULXIu1xA/cqqkySvq0T/jpSlSrtwYMZgqpgAfeoNHPhrCFJ0ssXWNb0AY4DmyatqntLrBZKpx47/wv/4+I/+1G8nJnP1aid3Zg1SW/HW2XQQER2/4WKAo9CYbnMG3qd7yK6i7S5eGKtB4OD/boW5Zhr2NhiEnjYZIv+Dv9lzA6MKKS3Hs+wCoNqi13bpgjYfNn9xc5V/fHThbATXCMOYr5EdMzL2NtQsmBxyz0yxZ4p8wMSxDyxkk2lpvaFFCwYH46BbaYeaxEHz+5FZXem2cZoDpR5fgcel2XrtVSmZX5FoCIi+XS1cCoIT/lVYyFtVTNXhaHMREC8+PJiCWTOLvkkgl5pQYu44a4FbDqOlTJBWF3Z55qyXF3eH2HZwvXY1jVus7ITS4yNMlJ0rFugYQygvbLCFqZ3WJJtpK6QD93WZuKPZmGKU20LDGTDb1pCumsL+nfCV8HaskqitHB+EB4XhCeuBCVdy4QKtYen5wcHoycW1xBFupIrto5iVQeuRwsMYQ/SWKkdSB3y/Eb9af0Ptex8oi7KXT1UhVWPzfTeiPtulmJvh7upY9hXuclTtuNic4mH1B/u69t7duXiE/Rg5Q4befe9ih5CN7xOMKboQYHb78EShgxldOkeBOE+M0M5a/tsNP+8Yc9d5+YNp/4dezV/xgrdwWfFN9PurXeDLTlzvoXv4LP3Q6zT2Iip41yvBiMkXqjYCBEHYQeoWupDEin22wTeWr551S7bGXZUjyBd3qexzHVjs7IZK9G9POBZI/cUV0OSJT4j3qEKrwwpdKwh5Xo/eH0WCunOUMMk10I3eJbYsdi5aVUXtQVLQP/s5bXuWEAIK8A3CAngdS8MTZGqENfJgmu8jMiLrrrp3QgrQt6ke9bFHMSx3K7A6TayM7Y5EnUvEIwZIoybsUnS8uN+fgm4r6Uyvq++8g5WoRdKyP/tA2R2CIyxZXf2XQzKdTcz86P62pWL1uhJAK5AuhEB5KYfIBKceVczFO7dnZZQRSKDZH0RslpcCp6J8okt473CheTaTl5osXDUsqucAVXaHdWpu3xF8zMTqv3o1qhNFI60m2Us872Q7HGO/U7a+aLbmnIX3jPO2n7b8O9XA9qxpCdkkJ0XZLtN0ZoWVPi/IRqcZetaD0mRt8skDgYe12Ntnv7eb1Ua9qq64AZgot40HH+iNs4FajPtVDd2XeNVictnAEeQ0HBalZpMs9pMLD87msu9HeZ/81mOaHlOnLjfQ+AJMpj8ZPATi7bfxoc9AKk1KlNgA6V6Tquc7/TxL7L2uD8fA0tmmesPlA9RjlB4xMSFXMJMz0MeIH6z3EWyusbeqt5XCGxC9lfyv4FPjuKbVSbCweCnqIJVu+jIoca9KliXae+ARti55/2v4y+glaSx5ruQZTQoZWYQwglx3nW5rY1MYoA598Lux3FIt65jEduisV+Ze+m04g1V/wm3v/2OeO53Vla2noJ4cB7F0lnlBBmkUVoUtP3fcd1QXX08q9gFnvNj2vTcDTIAzApmJbivYh2Z/lCdMZgQ5LB4pZlPWp8Gbqhh2XtVePeodNJMZR/X7JdfU8YZts69F8KP8uHOvdypuaQ4hF7pLDKPvIY5eWmE1WKFbt1wRLFvdYWVC0EuW2KHOKy+Yb1VpL/NVxk70KJQJFMHODyE8d8bwv7mT0mdaLOgm5OhWFcaQLtBp9BvTZ/mpMxWJxao3+jjZVESV6B4+BsBlnrO6d9J8thhf3jP4Wd3Kqnv+Ln23DtOQ0AfgsIIQ6vfm7BRcWk99vbH6BOEaVeswV/mp86ywReedSnZ/xpe7ePCb62mvNSf4yG3pbtIEEuGDFspvc51JsXvmPxxtMltc08tyVY64CPL9l0D3U1ifKkYDxDgh7wuvAs3H6F77sVEZoSR+ZSSyw3Eer5c97QKRnx0g+Zf3rF4Pwp1w6jSMoOCiNbjPEhVT+dS23VSliSjwml9kKbpDzcJYmJeJ1figPji0P/Nor/J52lEt1CSxEvNPQovRgiq1Ax6tC3Xwa+yVEE0qXTkcc2H9bgeBDyvu2BtQiCOKR3brHnwn5+4N/d/dYAgCTwzDL1+qKgUsy18/pGDFvMH9LoqJq69oQMJbSCLQm4MqHbo6gN2Y7vnY18pp90lLTshhlAGIR28Z8u1v4W3acIxFIsorS/w2rtDiK/xcMQ3GqgOO7f+fm1g2IiCjaVanMyBBJY8gw10ARcmymFz2kWu8/UAqy6SpKIWyLEaKfpVhqFSr/OHlk56YtbeJU+PwdlEuv8fJfz0w9nYCB08R5aceCvVzIhyHIetsjMoJTvaNqvxECTKZhBk10As+xS6Y1MeWr4Rvb5Zo8yc14XZ8RNXE0CK26PXZS7McIEdXKr9ChmL1f244/48WPa7XhV7Yonxkj89eE1iGUv782Gkm7A3VdWZ3caKgTrL/wPhrMNcA9ovtXQq5Di0R7S4/h5+28BgDc0+xayLLiAZ6E5NSyhBQ91+1a1mV0IKM9CqWjZYV0+B26HeqvjRCyoBOGlehQdcqVqgFOz1WykoZ5Fh2RMH6dnqEPaXZd9tJk6nvbLl0jJpUOiyWil7SL6FY8OYr2a6rwpwHbkY/sj87m2nOSJlZKetuObEEDOt3QlAG1R0OI0teh94FToqC3fQYHCDebmdrUEZYzF4k3+NBiYqIVIt3/VgLAR5eS7wbDcPgyzm3oPRg6PTkpsbZzKw7ykgbBgwcLi+SFlr4bLZjCEdp1+JWK6nGXeVVCmbJhTjWtP28AAAteMc9m2kP/y739wqoPq2kSHV++PteKlxHQ0AVOSnhxvgmx/J3+g0TvrQRCNBsp5WBWQcwcsbsMwwvQJpdqzzrroE+esotMt20nbdpRRnc2HgPVeyxD1ebB2P0spNwLoafeKWiVp+PDsaYLv1Z7tIXTfvLbz9oGEQhOzsyOzxmMBMAHXIrD7xjk6zdkyPdprsWCNrnY5XnIaVQw2vvYagL4gKb9mOFLDjVdyjese9JzCECyxRIQVI6TfpAdGgh1nIgfG/Qiv3Az782xsVcldElPFcV00b9vaCLHvE1L+Z8ADHOmGxfUylLyyr2epir80y7AiYtFAzS+sCwz2VwDAAzjfHTLFXRaY8DUDRtCTuoEIMF0sU8lePujfffip8dXvUH6gdHOJ1Kosw5DsT3ycZRc7e7VE7jo9yBoD0qLKWLtnk59PZuSeeaL/iFcn8IFdxFgHRmeZ1sLhAgnowca7OAnp4QqiMJk35s1KEsxklzNVolScrVizFOQbprIIWDSxCnRHapvkbM44eb1ARgWVzbLzdo2arsL/sICqqWsyQZx+Sb2b1wlGsi0CeS/olozn8IENx4q4YQzv8RxVamErQCmeDSqP+VABN71rYidtJadzxXNBUny+4agxTyXI+ekeD1heD0KcWRxh+LX/faETmhl2KFqkKhFBqkFxGOMCqDmIGaqC3BPEfUeqzJm7lWMT0DXejT29Cs8Zcx6brdqdRogCiLkitmF9TpLKkBHrEeOfxfQNcBBJKiPihDPn+a+br3bGdjjho0B/xWi5NDBI4HgO9ZUkWT6RQFngo19iWzEeF+63idC9REUwAxgehXoTe1Xe6xvS1YmZ+4/93FcUSHhuyuHunJntBRVYuPCAdf9CU35xbHOUtFsYN0q1JiS6G9QVcwBXNPNUTrL5qR9pJwdnoD0Z+/b1nsTgM3bptkxRVlFMriUJ5K4QNTpUfYJJHySOeL7GXqZ5DV9Yp8THV7qW+d2G55dt9soRvnwoVNBb3Anye0BNB+kofRcMmCi59Mm55oRnM8EQC7hno0Gaz625uKGBJHIJ5MqByvn0FgSw9y06ceMgO4+LZWQAyQ2+Y8LvPL9X/m+Izrk4j3ixqfCQMh8oL/Jm+z5oCiqITT3kVAUMhcstoafNFkUe0rQ4qG11dxiU5soFl0a157utykuMDNuRAjSksiUyHw8viYbpQ+PIqpUMdrpiIXLQXoacCYSJg9bI5beJvTIeRwY77X3EnHbxNJ61P4mrEEUmBiaSCosUdIHotjf7Gy5GZTefMNmfLGvk6bO/x+u4n2frcFcW20JDXz/v17OcYSDy4CZeDR8158bqog6Iw2yIKrgx6ue2zUE1lhpGyL756hc34kUPaM3SQjh6craVdmRBT5qJt1Vc3JJVcg607nW2vNcCc30Tp5X7CnZmH8vOdl8qP+BoOvz+KYtTEcRJJ70reTW9F09dgjrqNUX0tkDmiGQW3Bwz4cBjZcpD3O62Jv8BLy7YM6eACrPlLjrQhO5kKHu9mIrf0vNZmd/2f962IGYC57bcU//rPpLtrKfwgpo1uUuSzqNLaDW8WVYO8yv6TCC+qYHphVhhi6r/10aNLdoZPNKuXzBTu8O2TkwyhSuy4QFK3gZ1G1WBFv6VNrxpt3uTRrqne3aZIoiImgYytk8kmWzqf0CIsBmUAInlGkXw8RL+znND7dT66ZvLomR1FhZ460Yzt8qcpZdNduQf2hDVnlDggykmXzfiSNcQhgIzjoT8O9yMQMnbyBIlFYaEPwA50C9hSZ890sOgPgjdoXPWenqIstt+IrRRCZlj9XlnpkZqnszJ+3KJffpXpfMM718DVbe9HZncbqeCeu7flFqpxrmuKviMoGR73JC7zp1B2N7HzOuocimbYDaXBqCIH/KBx4mZe/StsXuATTWd5cYV/153i8q6QHqMjRP3omkRSUUNCTFQDwA1zYIUDqFlz0MsIdWTb64oLvPh/lOoE4nT/BY6+ZH2G1RWIDC4ARMin3YPzTEtl6Z3t734EyniY4z9kNbwx7MFjPMFbL7doyvHHhuJ3lVNqh+mcHWhUS6HevBhyEBB//sRj/rdA4D2o4AlMXQHE6Yj8nIwWt4LLyMYrshP5dfs+82auhrYz2VXw32UkWd/na0UyrG1bQUiPa2k8A6SZdWBWDGVAtW6zk1N6WvZML+JFeU9FBW1g4jVuTcfBQ+QWtS5uEx2csO9N2OBsNi8qdUKRLz58Y40glEAEE5fKWqUtY4uZThhOLSjmVhhcBfeQdb5ExXK5H3D64C+4Ixarrxd5AOgg3FxcQN0kcru6cCKWX/Mc/FWUAPO6S11vLeyhn8FT2Yp6iMxVUvLoyZvnSiC2G9wIAzj3usF4Vz5afsRR2dVuCIU8MiRfA/cE9c5uroGlXA8XPaKgs5QPXwdb5O5RHsiGdNj7eEYrvAjpaitquNxi5B1ErvbfRJ92oR/kpXqaoCA1P0FBGFWo59CIfp6FwI5bLMcvqszsqyTcDZSB4F0/g9xKOVnXmkB3kODd8Ob24wQf3HfYRPlH1A+nQcohHuGpjNXWEHpC+sdxeV+THOMEF5RaAVVmz6yhFTOd6NifC/WPG38RqI+rhS8t1Jvpco/AoFrs2bgd82aD5rIzP/YfwXEJNaGchRwwnvJ6uzL+ujiHhLsRHviKRL07iTSD1be/wlw0axCUS7f0ggvBV5VTGg+1bQT/8a5Aq8hMVfhsz19eqy1yrQzv3YkLXcsegFf5klLOz4jGVm9E+/miZivZhM1atEn5R0FoLYRRejhxwhxU93vSzZK8vxy9ujGeH6a8PYqG0KZTCW826/94jBiPWibv9nK5iwZB5h0gMMfSoquiGsEPIIkrNAJnORjPK14uyMKUqNWU8rviyw6r8xvwQT929iY8U08TqgHKke6c2oAKS27KRdHNEXrIXvwHAfo6HW7yiDxeBcHmrYOJII6qq3SbFyKtLBfA+tfv0eEeYewr+c3dzzg1GzzrlcSnzPC3SUhhsvEirirj0fg1107uBFMMsU2Y8tBJiiF1zWoRxp4nbYN0uGV0sB7HVV0GGzLY1ppSUxIX0URskXER7pXA+VhVuBsaxz96CAgN/++KcUBdmrsTMt4A3/nN8CD58n392BlszgFeNjp9tY4fBxynttzWiq5djd0gcPHXn403qAxCDmS5jglLaIrLdZ6GoTJ2kyj9RG3GD3gFPLhi6t9AOkhVGk0I9NnWTDxH5tmvE9nYSlhk8hLUPkHJVGB+Fqh2MzlK44C5jSfWhkLAnbyxZxpPCoQiBikHo+9mDfXQM3zOH/EKHGnibAH99I2hTfy/u7eQER9mD3aYdjECzV2JAJX9Zc7f/YMwK0E7LJ+U4yh8lETg+oWCXpnTnnrbnHSbVI2cClqJ44RhZnwZI+VXPaCmVii6QA2P8E0/nNr6nQbkdzNuOTVvosY4LBiKJa+P9T06YzImnKIh8HYHiEMOzcbddamfsvu8jOpGa0/wcohPCXeY1h1nRVAkNq07faxrZj9vMraSvFM8FWM0FKt18KX9IwZsMCi8R+lMtRMgOyCvMkl9++9rtGVmXZbeRiDaJ1YsmOYJdVYji1IwsWntoGvw6x1JGAAMYteBMkGaln2KfaZQBvZ+lSU4kXAGMFmY56HoDRPxPmnfeKnKndirBMSU9PG4aUYfNrao8EpbaRV5KTSB2B/xENBrPbyzDSYlLQNieo9HhXtcqv8DrsXL7EMfh4R5Sum0GmrYm6fohcj22HHKofzNkpSuHj4vk1vuebNquFCMbv1acBAFq8t3kmJhyKmxe6hsNMJaWNa+tiJ4pe/3s9xUlk+X3nsJ2OuMh8yGQPZXWFvsN0sbbWfERLCbsSJswHd8mHBYYe218RhWu8/+OlvqZdy2QIH80hW8M5JQLJQUkiLR/7Tg+nUE6zvX8eMLqMYvC1afZuv0jpfwF0gsh6UTcZLJCMfEAv9qzIdfRKlKD/HVbUqvIBFLna27hNiWu+9KnIceMCFjf6V5tbFA2aCNHWMpgqHJG04fH7FRKZFbLQg7L027ncSQHP94l2VScs+w3UDvQnHvK0dPKrgQzaq34GVF6FEPXOBE0GjClElX0dZLmXD0fTjDKh6KRVnZ2WUp2e2xuYlaA5jWJOBpQwQpYNRQgpm00Z4E1VYyY+v8NkZ76cQ+fNFZxQBsCoxQyHpNIWGBl8jYqoXw0jHzKlIoqUK1sJ/7pb6aWGChj5K+VGXlMs0EVnJEoE+E2zpJ4H+xjWYu+0cIjbxrO0d9q7AzouMgl3/IlxO2I7YJw21XlWEG2EqrM9sGg3OSQFbV58eFY4ghkXXbD/PyIgPo8+zOn2Y/5jwXYR9F8oKYZ+NqO5qCWQRkCG4ubBl5f2zMQxn0kbJ7vb7w8NErTeHB+TPCf2BGPSbZXovAcE7TRopAPz87jytr0r1X8OxPiLYJ/eyV93sXVv23U7HIP8FKAKIn5L0oMRu+W75QxMx3d0ipC96VmqM5GvCD1qf9nkxfmDN+3MRBCCv10Rz2yPXLdwv9C2Sl5XqHcVdCAUTBhelyWzg/X8NQlTG6qqr938vYGKPBzp6n+zMCIk2Y8YHKRK3sfAMVxDKhRG/H6JS7peBcnbFsdL0E9t17NB+i5M0ZkOebgq5oA0e8Sr2db38gkh++C0VpOEzeaP8g2WvV4AKRwNaVljZHAiulIGj6BVjdykNLq5CJSTHpmvt4VN4jOOgiwTd8AH9IGg9ZM7YsWG3/fozKt/jnPGh/a6sOHFPNkRFqCZ8AV8+boggkOS1oHrweeUCkcZmCRRTbzc97gmVEVT4UQVbGFWV93kUxdO8IxOlX0U/nN2kgt7IqCjvI22sCUHirQLw+uIAxWdbbWI5xjTQHrwrOv3Xhc3Yx25sEg5JypBbramaLmeCpCsQMCCxE7agjXarAHW3z9MSYVmpvNr5e+by9I7tUDel5ltp+AkBUniujC5Yep4y9RmnUtuOXFqMejEl21zdmZcP8yDaDaSsBdyj7RxGRSpJW9HKoIscpy9atIkO/tpWtahw49eh3dQtBPGAWEJGjRSaKSOChh9988/qt1vHgcaGH94nQivkWpSw4M2ZLdJvfNLAUvatXyCbxM8bSamT5U84BiW5b4DhDw3U3o0crc/joJiN6+iIfhkL2oyrK+qivKKqEGL+TLzNswChvtXXbm4nSCx/1bmNUg7rKGmWeJ1FEwUbQlVT0k8NkMQqsme4yT/ZzLFsxNKYfUB3SomTlDGkiYp74Z7xQt09Ap05IxjDej4AmW+6q9T+7MxQZxQ3E927zrEaTAZi4GiUt+Fefqq0o6i+qxufnfV8XMFMsl4Y7vHBn9eDe1km6pmGqSj63udYzWWQhnidkC0Mw50mMWbHAgu0RJc2FFJ7LesWrJ2XCoasuNVz0RhsKq0uEXXLLADHt3PZ46jE1ORejhXJelb1qT+w6ZAGzkGcG2NMI+Bh16Fw8MFSdst/F7qLHHbsDyccVJ0rzuitlXA2Nac+Qgpv+6Qjgtb7GDhPG396T0cwq7BNGTTlHQbsGAtz29DgQUDOGfmaAMbdwKQ7e0gOAK8WAyFFdncfbHnrleGEvnTpb5BQkt9oZvBh/YNn/lQgG+/7NqihbSGWYGdw8moEXI6IgM7Nr7CNroczKIIkmtFIBBUlXrLqa9lsrdHA9UzuQ0ybF7UbDg0jpiTZ3QGbkDOvJAHIgz1cLlYZdZDHmMaZCFfIO/ixAd/kCyPq+cJ8VoA2WcBBoU4ABbZH9ruj1Ps02fxeOSf8FBRHpUhfiytSPBMbuk/I7VbzQ7TZ98b4ySz8V5DpRWI+luQr1Rma3S2izMOfQq0zF3Px/aO6YmmtrOfRSYNygHTAQfeGjXDYlb2vgXm0nr7IDGARo8CLcMZbuzqXIEtzRSzBJWtQjiUyXf7AqwfQZyeb500Xy1W0S13Zn/5W+tiqe6p0L39pqhwUmduurH5laWelzKVRX+DKMqMxi7Ws1Y+yrOCiocOrO5/JPM2cUxoF+wW7F4nwulBaNN9V6Cno0MZLaVD+4XLteUwdrB6wwIcgVxQe02iyBNi25/i2PTL5N+rH0Ou5/+ahXO2WPmbijetlxwPnWd748KYSkTNozSi1HwLdRwBfIYQGs9T3eHFBphF69u+VerGHszyA+j3I1R2zx0YVmxni2pjClIA8vlu1tSUIjOOwMSK+2Jt12WSPHHw7DY6Z8PUxez9d2bMtd10S3W3XmhazeEiZBNb4h0LNBOkY4wqpK64gCy8XvpNn8kitmLHG0GWRIp76pvTR4H0kE0BNVhYxjSRFJYnX52e0fjUMbsZQYMWeXxb8s5QoxoytW1FVi3GizICPe6IVi+RhXdGXbPRoSUUpsJqZAtHEIYrrSgqKbQ3r5okkraptcQclZZ/x0WYPc1al0TPRYm1+DY1FNUWdI1yfQpzukNisodOFL0AvdXNSbvZo/9c8EmpTOZQ5NQaAaxyHN+6HXLz654Y66DYVnW33ghEESjm8so4mPOt4ollHhjGcmv4juhJJwhbrEoD5T7wlEdlfjGFntnUulincLlp+ayCmjh38h26RtuNNs+jeiAv4H9eni4JBNWu1RwZ/L70yBFy8R7ALGODZJXxXTYqTZuPI10G2mB5uI+lhe2STPru+xv8oF8igbD808ATATFnKBa7IqqBQgQ28AyUryrKAyYp/WLnn8ZGZk8bhgRtcwqESULbr4dtzFxBNaPBa3z2S8NCc0cNEpabthvkX/KOR+BDd65ZCdG4SYm6DfktcdYQREoHfHVGjdT8+vQ7o+g/qx+3rY8UlceqUz3fxDb/Ow32rUhWjvNEKYXZOgSrK2rSNIsB+h5DBC4Fkl1B4GIawXtRMAVkye5d0A3P60Bkfz2F+JAe1/BefBZ3iz6wR8MhTDnzI9m38TUhZ2HvynFT68NuQdRNX9OgTC9zrbgUUFAZiRpSxhvdHOqu1D2MExlM7HtW3iReYIvjxGACyI+Mv9MWGC6eB4KTezWRVxd35ZFXYzPs5blpcSrKVNeNRF1gmQ4PIJI9Xmi2hdlJUAJpE8109k6q/YJ1Q6is9IjPcSlAmYtdD9Ec3Y7WAP0OdFkmIGXET4vjc1XGFfFQz8Vb4YLYlunAJJgxOIZLHM4TUOc2NE7xECxF3HVoRY6WYblHIbcSUEIx2aXfjUl7IPM1B+U3fwyemapxhL1GSHDat346dPLj3gTZ0SKcW/QcCI8Z2sEIvk6uvGV9lRdShr8tuRFBmSMgi34UiDxVeiJRR73d21lp02DB7+3ByEGgcraA/OCt6TYaRqO8LpYFiMPhKBzzRE+WcXZFClueVX2CF04k0HsB3BY4n1jX24A48rU9eHRsijHQmNavBubeD4eaS2oYwNeA24p9+oEgXGjnPEqRVmep9dS9ZU/I7TLHe46XQRS0IROikCDPRzs+t+gpVCtpu1gWe5hIWv35pELk8VK+bqZo/clIArNHGrbNqOW51bSNDjgVeCuZBX5kt6/dtxgON7x84sTevCdJXjzW5quCypoL/DFi2dJ+StX80Y8fYC1sU24xq3ufQVQ7AhSYTYcMp9lkLPrt6syHfEsPFcQhQCxLZSB7ofM98yoRtMu+wZtaiCbXLRGrbgn41pNZd/tF+3Xg/LEO2c1J/2kkqBKVifIVPiOzy8lHfXy5XoOrhykn554q0RhxzCfdKWBgzRzZ9o2K95ZzvVt5lrLHSn0wNWjrBxLI3MibfG7W6CgLnr+GNGNQht9qf/vEREGqS8WUthDKvJDvRc0tsDG7pln0C32jVPnLUo7Yshh19cCPHk1DYyju0D6z1VQYW6SuuIGKXSnOCQ8koLg8lPuGtYN9UlZdDuD4+prKia6tgKha3UKVBkN7cgs6AlP/S8Ta3ra5uEIy+KwKvqCggbWL3VEDUgAeO5fDT4Sr2My79NBzeCyk8Hwqj1qY0SMPrAtHWJMiPND+Ne+7zqVphAhtt6JvzDDHOdzXLR2hZi+zRdf7y1VyPn1gRGC2DnH3sytd03Aoa+fTqE9PL2v+WFRns6vXqmGrxdo3kWmPFzAtYm1ZICYJ07uWOWvCc9NF68TLA/oS0qqz3TLAd/xX7Vrfx+gwCDFiLE5RpGK2yzPtKE6phtr7+bUgQa6N2aMsGW8p+WyIVlJWEyDTp5rIl49cHGVDIcUsZ+Sba1DSe1jUb2SpnIReFNZbyH6HDwPXQ7MJQ0wdCuVs7q1rwr7albnJgpwTvijvGouckGuwcbCoBAJVbYGxypnmlaObwb5N8bIboZoCTadJ5+YspjbLFGoKI+RAoQXY7Ig0v2zRLMK30U0WbJ2uCxzT/eQEHvJl08AKByp04T6cA3UxcV2POMII6Y6E1LwetPy2ZoCRDUFouSFHgjkrqEakJ/yVHRq51VeHu/ecojnfrvfj3fRQfIBYM4Y/xBMHTHrtDRApdpqTfU5tlQJlySlaiMkfZwdPPMUTXeCFwBIecm9UHE/45bJkPKRpOxmmgNwoGqdyWNtCncW2DtWbWb4aHsf/SDU2+XsKsHDKJHcYnUv/MBadH8H3HJSS889WRraSiNOUiTtJfcjUJiB1r7W76mTFPzC+Ma8dnmabO0vTOjX1dCvBpd8+2KAW2W7zlG6orWazCAKqarngWTs4/QdzG6uSKbXIJJWWdvMjMXX8yvtEvUIiNarFYWmLH4pumSPHmpMaoixL4QjpxDXHnJjzuuLB9+og4hjLJk4Kk9ySPjcYYU59Y/ozKHf654HMFzwTKymImi4FvqerDBxHKay5MxipJib0YLa3FgGmKdXfse2sOD+DXSKhEYlg0mtxBWuc0/1op6inxVexmaGZokyn59lYamT3QMNvkEkvfflsj5TNmqajUH2QaNejTr69ShRIkOcbRQslch2sd5e+0cm6z+M7y20VsyEoG47C4SgquEC2oANDpGXC8TaTMzAaNvzKdkNHWFw9MgAPxp9/Egt3aAAJCbJOIQnwcYPi5HleqM9dN/ViJnPqHllgC2Pmbjz2i7An6Du/ugXvEh6TGwCke+z00ndD9DJiJhGQgggiG9PvZQ51GwsIJx61CLPwsbrVZfWxCERz66Rn1cqHcPOev/cOcVWkHy/owY11RWMtrZyc3wkJU5jkiuIWmL83lZfnvuN+lGWjTCyPwej5CUkrhBIQRoi3fRDiPf6LNGzDsBPLK8DAMVR7v9lQyOmIBNK+676LgtUQMSJAlkcZjhckhu+pvhydtEhLj/Qm4uo5lgsGUoDidMxn0kn5XoN83AzoavUYVxzymTkR7zpBVhHzg33LlgUmTuhj2zZLysyvxyXsSdBIXm9QQDSgbAZqsM+1KXwsAt3IB94TTc8t+uDC0SC+jssOMhbA8Vji6ncfhQGRnC7pwmUTX9ymmoB3KelMA2m2Kt1t2eZizKARA4HFq2vr3yvfuMC8vtJan6LXiypz8HyTKjoAU5h46WZBPl0CCwVG/ysXfc/W7JgXO4PYWb7zCFj02BT5ibRgG20y9rpLzDD5vcd+0vIXNI9oH94FvOv2hyAQDnMVKXpkZrfa5aF+hK6W7VFFSv9igH6UgQJD5tCTBivbj72y168mv5n2y47UUCrKhlbeOu+UymwIbCYtBLKHhdHYTT3+/c9kmcWkMJPlftWAe83rDdEOGlT5X4Yvc2Cu+FtuIAEA5eSHlsQQqaA2sWtq1/XBBTT9pux55cx5JV3BZPfcVYjQp+USKDvV1xoRUiLKwPifxzI2v3ddPQgyKZqOjH5nPSI7ZDvsnwiUfmwgvWviko+gdflyapU1uMW8eKHWBJbULd7OToCZ2wCN5FPNBz6wvmlC6qPGnFr75FVcVeWV0ls2ZCCxDCAct6vq03Hs0WB0fllTBsFaclsUkSV0fEfZV4BmwsOh2IFM8grNNdgE1SlukEWXtODJD8ofFxWjHIDQ1TacvQSgoQKiOkCi+0faWgqPbRd9MoLdULLyU1g7Lay8vfl5sxr0eT8eH/uBOnV2kM5ZanTVi63gl3O1ETpt59RWAS1L0ZVA4ELKNZqSubNgAGnolN2XpXNieWm9qAVmwFtxmPEfJv4orhZbEkNPpqk8q+uy8TAlI7K8ADVTG2kNY4ONdiRrk3QMxutftA0q4K95OS4nFIopLxBVtptXaEc83dxqVlIbHoiz0re9Q13z3PAUZHUpL4ktJrMbc3oR21RVPkB9Vi1gBVkmYvbfsxYgxmikhXXXiooYRbBay6bpI1hJJjrHByA5oF2GHjrhwRrbx/YrivD2p+hP2u8dhEL/KJThw5LoXoes5LVbey6S4d2acfZ1jiFg1/ZGm/xPPlPZ0FhKYr9kj9RdDItHXOSat4SZwq0/HAsgCCUHkYhvjcbaNxzkCgl3m5sFBYPVzIPyE+F55IEbKuAvr+JTzIj/gWwFvrjgIx7QLu5EmM6W7IGaGpvuF9QDqt3sVjPkSD5JPzu38IuGWt/SnZaHhU6bEjhVlO8zDoPRhf5OVnnhoYsY7tQLOQB2CfpNc0vXpB2wvxFipexb8ugb0bmHbEipeJRHy/S/tHzRHjYX9OYruJ3qn3O3B8QuU+zL5pEyZKKM+g/egcCI6vAcXK9wyK6wq67PuDgCQJZmPR7Fc7grzg8OAYb2BvKyA132Mu34Q3T6TWmrOtJcxL2dqmyoPb8xa65ge655UkUzcSME0FeCtiDfefL5C1gDb2b3SoKzLZ2JvvfTL2m8IDonfK10tlY6Je7eLTFFMkCIEY0V6/amo38nAN/9U74BCBwK9FHbrFzl2eUp3K2zF/KqPLO1QyCgyr5sEsAid7MwkLVFwPMW+0yW68mXa/Yva0PgsGWm+qsvkcbxHMFQrz9LcQbGbU8SPUoiB94LmVOdWOuKBG3VyKjZWIT/t9xXgPgZ75iDng4RJLD+4RKz5xLq47LbMOJconDGUyuNWOx0FeKJF6ipj45X++tKbCqgJNRhv1wUMtUHzD3axDuCMHNOuDJi4CWqFTgFyyVbVWs8osRMEiAklbwfNcebh/38OY7gZqitgz0OmLRLkG8ZEuVCRCjawWhxOBU4RZZzDbPH/exUDyqS7HmobIxgdb5+OMYJ4ECMWpBhnMRf4f/67SYrhfPpNSqTXXo7/OMLOGNfGFD7v3Z693eNJA/cV1EADWkOsTqtHLRP6sbc54+sgAdFWv1c+mgbp74zt5hIueGB+KemlUoVC46dXkcss7CHSnVpYTrua0BQyBnDTRM4WLHgODMl/t5pVmYLgqk9+9QFnU5y1NagITw2Z0LLJkAfeFE821whFXtZbNkEcKsOtTzHX2yGV8F+el+SpRgsP+tgngUbpC2mXgHQE3O5/w/vE7xgQShFRA2VgJbBhZKGpeziZumDOGuymh5C0SESizXsfZ9WGLtEL5zRB3w7O0f677Lg/58yVkEP1zWifzAW5ijFinBbs1TckFl+v6lUVTKofELTd5TII1UVYcQbYxHU+61CZUbgFB53aWdu5hm96ww0ALNNl2u3VWgjgAIcczSTXklnZuo9YNjFYEY2nMymeBLnofNbmF/29V8yrQQmMqEgkK5jIZVpbFlJiCoxgKa6h/kvozDWK9l2XW7MS5qdd9oZcxuwz99h8bGwmBspmtAwmi+p4XkxOXrnATUQ2YwRkDFoRvvnIqU6rvL83LBRIpPlPVVxQEd9W/4ln+LER3qs2urU1thP9OcNoO6ZmybPuNBBEflfKjb5OtpWCWrXaeqYrl6/MI0uiwEtjQpbbneITg9i7sOJ02oOCnYnglDhOuHDOWFBcHOyoV4aDgfiRSOE+8U6Ba/a7E8Gg+76SXmRIRT2WmyZlg/TmNiFXUKPuEATsHG4PxFmZaEucMz2LTt0esR/KBB+0j33DWHOttvbZ0mp6D39qvDmjTeC4fWJjlgkjc3rFvCRLqahn15YdQTKALeJaouhU6WNMDucsAl/2qW1KLkE337RAoXg6luUP/exUR4NcpMweYLW98mT/sbQj3+H5rqtBswMMsJrRibhjhTpcBCiNZ0soyMa/q31guwTpvO4Oan2+HHU9mcU1Z+VYRjTqDVnHCHaMqmHTMH9dYNeNXKumGjIHIYSbxgPTL+eari+8IsdkQ0V5bfW82RH21tk2cBwxKuC3yVaN+2Up5GReGNMl1pFKESew2Ricvb/ZL2Wd+Z7aPjwRv4k/VbDP+cHn4DhZqNx6+mY3A/PSo76AcVKNcdzx+XbmVhlMBvh4HR20K1/3phVRuG6c5izQLelZ96W8miui2WCq/cmsz0KywH56msRDsLvOJGvlWFgIlAnoNvEjc3KguwZ9acYlDqnRHUfcTC6czLdmGY23lq/uWNoU+uEEOjnAC9CSim9I/7aK4AuN4DHlvi8tIJdt/AngkfvMgudn2WN/oKgZCEskunjNXy7jrJeZ+3kCfiRWhI32FgQZTD3HH4jG004ipkp7NT5jBnXT0oKZi9VIbPk/LvIMsL926zV6A5s2ByIowbPF6Ji4CDD/GqCjqSLGU7KF106RnjqgYbE/Tn47cdmMnTD0pIhOWjdeahBdkPztII+85oxTQMHHGv6F8KCRpSehq7dOs17BLKJAwGc8pdC/pLmAyK5zma8YkqXd1dtMu8DlJlt5cEmEz8c1rHL4rPZSnCIA5cBMYh1F52bOHZ8tLezwFjWiinN02QAlkrPMGoCODwGuf+r7PbFYXclxKdAkI6NOT6iGGKy0lQcwrvJ1vCwHoGV+O8vEAP27lH6KV7KzT87NKKJzXPtspE6NPxyyNIOYKGzTcBs7K+uPeogy5fCaaqaHBZGwE1kj80spwdmJJPKQSAiozBUKe4q7c4Lpj1sv5hVkOkY7UNQCCqEn+p4Dyt7aorSEkQh/daBnMm+dj13vov2eS9DpRx6qMdFc0MdqLVPZalFyZGaUSswKa298dbceO074pmuJ/Bf7Bmv8EF6wy2JAASjnI3IH0Ze8hY473hxN/2M1FiyLlfV3o5Kulo8tLKTvc7y5uzRV6NirZ+Qrzxfb8QQhZ0n/6hI+9rKqG96lN6c07mqAeVYvA5sYqvB8D3YE7FpAwpp33X5BajtAE7wEk68ND9WcLwM08F80yEG9U4vjMfzdJi7yIWT66KVFuVViNOzXUOwZ7MGq0wHJ4BPNfnfb7KTfkkKMHxIteHmRJ8G27SNbhb8fhGTSD/yt/Prt1iOqiH/uuqUHFnGg0ePhW6r5w4vvPES86cLZE30Yi7SF6cbpPYXEP/+0CbwugfLHA0asjbQ+zouqANd+PUYG2s7pIaE0HsCxh1mILBOE9HI+S+3AkPva0OcHUIC45zK8uGMw8GJ6wu2yM9px/QJN2+bWFNNQQAi9w/kzcNZxMAws7An8s2GyHzAF09M2ImGGcm/CKkWeIZw+Rsqfh3EJL2eGmpJbaQ/eWQu8Av+FtWJ3o4wHDw0Rw9xLKbce87UCK/3pSVdUzRFS0KWw6kloewhJ3xhmpzS4HknUIdh4UTLRRMZxni9yXd01Os2gShhNUo4Y0TMt8eWVRdKgbOY7Pi34mdpiABJhKaiKAL2SolL6crY5v4t9tWLbQi7wCas9ug0ZCJtXi6c9ej7gUJNQD3Us0McJrG8Co1gIvHRZu4nt8bKuOSC6v2XqsLERMH0DMZo7b8mD6ZncZcmVkTKhhlUOebS96APDVHjQdF92rmwmgFC7hxwnWA5MATHOyfcM0kpMrWb690pFKcI29N8trSZNsJ2TB9r7/sz41859eOVJDlhhbjAw98nQJtyuR4kujZbzo0bsCbpkGOVr4+CzKwHZ8Pd2K+sXwzQWk9Xq8RM2dvJkup+a0QQ1R3t49Xh03rRxNNRDbZyuv6ipv84ftA/9krCUChHlN0ZcY3NzqFQg1fE7ISZFuRh658Rb1seUZkT+kE+x1qzgH6aQ1gK4bUWo6BXXvpyhG+quvKuk7//uoAC8+Okl1bN1wrqU6y6vAB2bsa3t8aO2DoBrU/x8/ax+P3X4cDTgleEJCW0owjHfIeDDbs4nBWNN2PBY9SbKexFsE+w8VGoD31YvKxLz+ii4U+654R3/ubnJngeEmmnO/61f5Abwarh55nJ7tVcn/zpzxeNPk8i/fEgS2SLKc+Wih6PmRrrTHXe267D+q+0JYPfJ6Qt+SfdRjoVnunhPhrkLFxcX0SIh0D7Mj3q5ltFsLicEGF/fW5WXPbz0GY/buh0pPi4I3CPIbKKVPZcaV4UOY3WUcfrHGQVjuWVXjzrCVFYPPSqLHrf2R18tLaYnKXVt8DBFFv2sueFTQGETCoTXUQoPKZBzzRKbkHxj9S2zEsoszTACS3kqXsWwYyP38nO0jG4jVeJI3/lN6PHArtu+kFKKs/uTVcbcPp5d+vfhFahFe3JC7yjli6zsX0+EnRp6/y2zVdTUDhopubBBNgMr/2qJOgRjL7GQnuZJ6nNL+zTVS3L5eDf0fLLpgnpflva3IruV7DQ0ezVnEw7zLGUOi1lEUceKvzk53hgYpamNUMXeVvxKv0R/NshcEDnTNsrB7pbUbpfnAriw1TAMA2pZMUlA4pL5lYx/wqSiGeQSpSyEg940I9f8bMI4yaau5FbZyn601KINjL7frworXQMXNnf9UEdKqTqGceT2367KaheR1LMtOsL54l/ERKvj4ud4z17ORC2XF8CXcdU4Tnnzk7CkoYkIMysqcMhxsTOH+KIcuMNoCkH4JtNLJXsFqxV5VxiKUIciEEzhmS3kx4ExWJGxrFGbAvOczrExsBLEukghQPa56SkTMj4PQYH0tG50rOifckKOIkBoplQeZIxVw5++9tHYFMU37aJEglbOMPEX0y98dwRnQm7cTbrBVqe43SvHl4ZU6xe4aKMVBVUcHQ8YWm9TZlfXAUJSfPgu4i6FpgwAeSEh+CLaShCPqCHE4tXrFSVsrFn4fFjOeV4KjbXkYsKRmh/DiI9FBC2n3piZlWW/EcAGPmYow1OzqFIJxwssoO63stm4BxhgW8+G7fRR9p9SAn7LbIQH869HQVUnup15t5oXkr2Y/1scV+5ni/l3mAnBGvBVXulsJy1GFLjoE/N5C39tOA7HD8xVyAVKMcA9e4nAUIOi9hzBVsnLGsyjhzakhxpsIqXJrBE9n2lZhQ3u7YhV9cnednabCiXGsowLgLI+kAN/Izw5vREGSMu5KLGaw8hhLstzZOE+k2gCQFP+nBlsq+Ts3gARvO21aBBPOyPGAvFnUUNN9wRQIwVz6YwaNaoMtwXOTZfyi5NdB2wSfh70CI29SpmzDQyW6SQGQKubVdYPEauyyHEYOct4aEL89E7n+sOmSAlof6FnOlNXmAvoDrtPhH4h4b+fYsXcQozAG7KntqqzpoLrEtJs+3K5HSU9oBiBG5Pc3weVN7pr69xQVpl4NFGl0aEYHd4E9R1NcBJLjUInffbbSLIJvpiy0h5RNZwijb0iuhQk2LDuiX5pUAvdaW3ah5Pi5ckQfe9jUTXjW3EjdRVH1qJd2NfsWCR2Aix3OriP6S7a0rgh3hp3f7Zy1AE8P3vkEt+GEGRDXgCdMKSjRMEVB2ryeVBu9QL4kbiO5HL7VuUrRQT6PliWswdgSdp1PRPCV3Jg9LoNDSh/EkVeQ9rPudzT+aquXdYLfafI4wcvKRnXYKc6ZLgG912rPw8azat/4J5rpEw8SqNdJ0bzrv66xzRkWb1R3HkOPeE2ISkREyG5tu3cmS0oKGEpJ2WS4/XqkHXagadMTJZ9FLDXoo6Y06BR2MDNwa45TykB9i1QVm8W9jqbEKZ1xts+ECCx3V943qp/VYxNq779Bw9UQe+7K+Kr2mKN4VUv7+ghLG2vufIo1uCRKBvlfD2/BArLQ2rtOpXZGTQnLfUcdwPV4PJZT50+Ukgk0RAa5iwCZWh0GGf79yGmWYVkSv2u8CTk07pUq/sy52HoTfKJU+rU9hk5W5csroPaYWtkV/bbmYmly5a3NwTVZo8QqqJP59AW1/GOmKDVVTcuoYEUpIeAn3kGFaWu3fYMoP3iy0arcCKhy5vOTew9DNBqNkWmxnI2UQi3LXC1cdfQfTWfagQLzyy6p9CrXOUa4r6Y8aqfhl6woAxsYBGd60NKuGL63gzTP6mc+O1HXTlf4BWfD9R4LY0CF1dJ46SYxIScB0r8oqA+wfWoEI1WT7lZsbif5+tg54dd7BuNGcsHUD8akHsM4L5gvkVgy/LczFhOXvzTySGBDZ2gEyMy+OsRKGqleWj9ZCMuPon2W5LATwGFR6ftHli+epR3hY3aMrovw9VKzAXfIiaLZJYK1OhQq3iJ57GUDAx+glySH8Oz9sJwOq9t+NuFzrOWUiFxJVepggoUCPV5aDgLAnuK2vtrVcb1jpuUJDjCJ0AM16YA52cYkQnpPm4zFBGkP2aGN+GjlJ/7Vp2x1akg90NeJe6yHYdPW6VbJouGLYgHdEiWUPqIgA3yl9fO/7oDv8t4OvKNCysf+aCfTA6EhXRWS+2sb7mQjbEwrEFHesiiquk7oltEBXCTwEegRT4QAN410G+IUFwZd6Y4Slev1DI1wTJm5aoEz3s80qWU0lO3S8iorXMZkWLTGGYMZSU0inB/Tkqcd0ep/H2xeCm+EV313xYAIZSesBHoyqzbsDnIcO4++hsKdskyV1elauhCYoCZ8VvfgINyRH91FOjWIovJBzQqSObq9TvHsINTYoz4Y60pBepUgiWJltJxDVP7mFIvqlo5M9B4QkKQAUEMiPEikz2j83QRedcGni6AqiThK904+bQDxHw5OZXh5B0nXuy87I4XMy9YeSQsN5sYMF8UkfephsS6B3WcAChZxJszMeY+2SROiSgsW02C9nUaGkWPsYt2QX0mvpBERbtxBGnQ2lccmeBrroiBq4uYwP2I+QeAlecyQUPbR36MgBTBUdm8n5bxIV9GYKx3ZcXWAve58R5/GtWSdkDe+XMpf+kFALSe6MaxMwvlvl7UJjVLUb1vZ8dpF3mPY9cZKABT0XY60EF+1NUCD+q8nyiYvzVIVBJoSYrp3CNdwWNSV+GKXghrsy5NoctGDehBMtr46DEyGAv2LWAfaxveuCz2+9id2/VKfksvThH6N7LVOjIPRFt7yYvjb2ZyHzx2AlCL8bNrBnxmC21H94qQpoqjRfi+gXl9JDNdCaLCtXZDFhHpe40amoyqbeUzny11m3pzkeYVMazd10sXxChaQqFmst6ztVyUnKbrWdpTUbBFGdUFG3Y4IrlWrHR7+bPPXiNzBm3qtXQ77WULYNgfJVOX47MOzLLflqxakzJAQSCyKaP+Oeh/Y3tuAvGc8FU4cX8tIpfEitxsPd6gz3YqIRBuH+l2gkQ342gRNgO7X/53/XS6E2vXCalhY2bxJq835mYgwr+f3sP0u0XAvNaD4So/ZB2vgrpxe39x08swi1GxkRBaRaImBOm1v0eFxtahz9W9xpZ3rfIaNju0nwskwZlOrblkNcqB5PgwVqM6S2h/QjpQ1DpiL1IHDvhXss5Ar9qi+uTx/2ZRKkhQVW6KJ7oJpdSvVanLAfNeG5plT5goEci2uuv2HK7Ykj/QBOzMVLKaoCeeQFa1grVBJGIbUYiFX8awxShXyLqaZ7wLE/r0W2jHQS5aX2QSK18A46hC3D3WIr5At/NWBD1qjKWsu9t78T9BjSdIravD2TsMVaBsn50R60V9rUEsQU79ZvXpSU4qLomdpw70d1UgmbSfGgEaj84DbFkwfWTApJPeEfx+5a3L3FjAftkfWf064/Imm5nYAV44MFstOPkcL9MGvXFnuLahpEBy3JETbvA8THymm8/miVxk07KIDuBBd+owIGPL4UQHNT8My8jir9KVsg79/cVj7gI/TjNNcK5zT8Io+W6uorWEk15SBv2Fpi8+gFAjW0cWMfptsH3b3gs5Z6yda/H5Q3OnulKHYgv8f507OXPZJDguO2kYAIkvlQA7LFaAUHUU1Wxh6H5w3JbZxSklnMj/yLKJ4U2YROmdqFsre8Sr9SWvP7Y0rNYmSFsxwcd03OgTSXBzmqABTdkZpr0W0NRMFmcJHNMmJ508n80JmKvg5WpFZuhPaFUuwl78/apf5aTP8u8HuI9HvnDe68cd9OhFrbULV+aO8mUsz7e1U0Fx0E5c5KTwlstnYJ6cEo5hhGpVLHdGxysJzTQM+LlCYsZzkP7VYya/hgzLOqDFLMmKwg8f+DFT4Fx11/a/z4jFDW/mVwjSewfShofQEl7rVcIywFlsl7ZmklJwpmyEcOXUnJTbgT7fdEvkxtqAGBIROOduMvlen7XK2/qnC7hy2zjw6rOvZoIY+gpUMMJq0aHwNnte89TuJKebsYVXT9PbahxHznQD2yA4cRwOFCFbBqEOKrkCjKyl9TAL4RlVIE13iy5ckzTmZ19oGP+ij8soaNqEQ4U6RkibnXiq6WfyefTws9zppO2sFgW/rqEk0grke00UbpbPiMtABuMmbeygxehI6CHt/DrRPcqwzkLHCe9pLimgY8VqCLImq7lKMcPzE0g67F/b++rPHpJhbrW5aaAEpcg200NxsxWOuxK6yN96zmQN0yFY441rWUOwxG2Kjp7hML+awn48Xc3nmIJmwl9GCbIBqmV06aMoFmpNjjyF4O90o/kUGyHbSZ3vshaLzvzj1NfJPS0ta95ebQnsPXv/1tNy9I1MtbPyW4VgIWuC690RyPyjofP8V/x8jLYm0NpH/P/juVcihtTNdre7+CgMiDa/o0uQ5GXjnWsdUWYbAAUdzTJuEJi0EJNJjiDRDbcpQPIyU6t30mDs9crqo87p3E9x0Zf9C8paS1nQbI5RWgvX2nhSl9WfD3uAJWZV9Nrx0I3CbnEyh+z+PlPrH4t4aMvEXFaPfuasDJd/K7RMtzTBVPmC0lrl7Se/d0OiHyqbgR025nr4MP/PrxU1kp1epHcCpRLFjambkK9pYfvPnAGf9xeuEOj4ETNnjLiRZn+bd64tspdcm/zXNkCUN73i+8uGFWFIwdq715gEvKGyDse49MCpjfYT95rfxjGPmcv6xSMZzELQ7RjsyiXpBs+GfxHoRGYsVZQYTCKxr93dn5jfjIOfGZyfFSPrN9sGTzu+ivWBxIeFagyh1vQ6YwJZwebcnlGCPCwjwvftJPbWmPXf6aw91bgfuiVG7bZSMf8gJkNgVGlTLzDtRbbnnq/9w9fbn7yzZkVGhQrf2bidzriz/mIvVJRjugJyBkT7DvZATNMKwYxJw7uR2StpeAT4ArEmhMgbOT36K5nc3oMBex9t19U+XJWvljD5MKW5Rcmyt+J7qC3DfK7VqgJr7s+07sB0YrGWdWs376tEq+jYPK92ZQwvNPBHUj34svDYDD94e6xdmKEouNXvgd1jNBMPI/R38lFMPzWuer2hieOlUKrxuLIlvWB05NXN3AegZ2t5tLOJ3Ikqp/mP3kgQE1NW7dGoxa+6MAdb4iQHqxUyJCCdpUoh2pCdOR7FiMOwURLL/NQQ2VfoK4wMdf+xb3c4kOAAJO4XQEZTi3/FEfDASAMZ29beuUp25e6+b+e1FTcikLjP5VxlV8JKDAGohmv0plV2Jb5a3wo47L29b8CQKIs9QrxMv3Wh2oQ5ge2cYOzgWrdZ5biVYMQP/eZ3BhBz2CTv8H0SHexMDoXKbJoeoe0LosQfO85NtXSTJEnTHkyapuEN6g7j2EiEfcYoG/RoMuMrIndnfy8Qn6CCe4xNkO6LKr45Km5zQzocgt/VnMXswmV/RF7KM9rGGgz8AadPZCLUH3CcJ8ZYxfDXmd99w9/iHHfj0/ca6kHCRac/fuDg7mum1KQiBSL40zFhspG/yRLC0ph6YA21L30a2biyWVO3aKNM9VoDf52rblDE3Kq65JU6aXj3p9xA/ZZdtWlcIZJSz1+Qia/5NQ1xTI7DGysRqwfDA7+Aeh1GVnCpD04Wfjqhih3YfurbreWc8koODfYvkYoP+Ynf74vt4Pk/DGxT3Tj1hKfiiN24K5rXe/BIXGpBlB71yguccyl0S9EzoNzedtLn669apXIlSPdqZjfdsf2O8uWeGRboSScVy2L224xxa93XYK3s93Rbd+VexYKwcYIFN8Un89DDnM5RM3a5CzZBLanfcmbFbhiJf7S6eo/DyrIdjF3u1gBvhsI0He8kKjxuCddm8E3NG0hWR2Z2mqBZQuFMX7EgNpuE+8SpyedrTr+CH9dbrURXYwqRHzFVKf/V8hlPY27Qws4mC88RDcsnhpCB9+Ivwm9NNupSIWbWDyW/ZOQ/XOjl+U5lR8L9i4ZVEzRNXMO5o0gsmtSbmEOMcP4ffIiXI9HxR1pcm1Rd6VVFT6/e2Ml4OPNzw0Lwr/ByF/e9JuQ6f6vwSKL9PGJK6hRZdX1HUHJp4fx0tisV2wpZmqKcGbfmVfs+/hFsettjBUb9wZ9ggxErf+i7h/X8k8usUPo0i5hCbiNtP2S9I3gf/DtNhGcia0HBPGneNv0N1eyqrXny78bKb0iDu6GfgIVLo16GEY/vQh+HC7LrU4CGz8WGkfV9qtxc8AjTm3jL7GZQH2cYbDdcrLZN8rMotAmx/PDwJYl/bBu7oGztMornFmqzDwhy0RkE5XSndWQ6NLFx8jhhuUwouC0EBBKJDgA5FhKvrnRUfJQumW3rr4kNS8OeEAjbhzHUoj8Xilsi3BYwLFYfxrQ8bLHqGrPpyRpOuRD0N4bjNa6gd5PWoWNdKS9G0AYNvdexY31pI9dX7uVqjBPoAxZ/+7ycMVdFM65lgZdThQRjnEQbCnJlvFQDC+Bn8punO5LcAn3qHQId60LUERwceDm+12nlH5grCMjLQZt+w+c2QYNajHcF0rdVhseO+FbXOT9CFoWRrt9duWao54bgWidXlGOpGhF5ElteI1t+jDZIUmW4mJCsm1Tnl38Tre2HPYSFfbQ3juufL8r7E0oTOAzzI3TFF8omKUBMb7x3lY+nNiGS0ndH8kBQn4SikuuOwUVg2rbKOFKGObuS9eI5Kcwp5qvVbnztvjKaPN7WLITEZK4i5Wb0P3WufyoCAsqCkmlhyItrfasIBxrp62WsjQyU74gx+hiXeitZsU04alG26pg75Ta3L8VyQYtz1tQsL3VDgDckI9DiGN2rPEKWpcgbPEI4Chf2pWaTyOdBKZDbO8+bmMnCkn4WvlGiZtNkTEzwyx++1MbOAIbR8rWys4ZLRraDyC3wQwOP1iYOwk3GQlI2ZKZnktjIPbxn5pMXlhLAltnsbTe/WYmWl4neFewV1pk4FwmhyZBEhuhdcGoWl9PAZlLGJ1GNG/N6lbT5QD2EtrNefcS/HmFobtKJ0Sl4DkpZEJyxwOQMTfOb/cRqbwWE/XTyz2IntbLyFqh72RklU15vhZZhYZpmKkzqX7p9AB1cwuvyHLXUUtlHkNC8unsTmjhX7lFFDEMrylHJveZQo2SEwRP3qg4nEeh3tT7A8loob2KndBue515ZosYXqVg49s4qW+VTZOPnXhshZhThl2gFUT7r8H6HE4VM+1Mo4lOm82idSENIzmitS2PoZLRtlDFNBL31jLdYMwfJ1ECVM0dpX+3YtamWUZM3Fad0JTl+Ck86PtRZl4me5+nYScvwLJKGPeIqZqKRa+3qZhWEQKSrXzqS8qEohz9YRLQeW2QKurFbTfxPhCdMVXTKGr8AnYFe1zP3yxPWPS04sNZu0vT1SEXTw2heKEciHqx+mwHaHBjJYShHmCDtD3V0sshKcG1TT7trKW3HySd4EQrnB+SY9t6IHbBO1LNWfoBQ8lLxNCcZ0E1R19sAQXGC34aGreMY4Co9nAUl5B6EvZJeOucQxCG3WALCBxWZ+yO7eT1cwz0MKLhujiQNpqJvmYkt+Fkksv2kMWfvlRZVBSk5RpVd/o2hXBZWTwWpJUjwemLctD+UUaXqKDNzZIJVfSEW0oLXUHrPCCI3yHLMtT12IoLxFylWmPsaAF5yCWWaoBUgINn11+G7Hd+3Oq6HlcpEImdwGhdkRMp8Z+A0Zp0oniF10KC/gVJJtvffBO8ZP7pSRKn3XHLugf7FLD9mkPg3uSVLVQJaD5TYagcr10L9YhjoOLl47Kvf750WIhvtiZsLgbK5va75ElOMo2lHpxjBTj1fFSf+ZfrMgmPwSJ/33BiMyLOv+0l4LpfQdr7J8G+nUvb1ft0MuhBJEvUVqQLUfO50RYWzA98BQRgbkRwtbBK0YLvO3+rSB4xcK4fgyKiBbZ6TUWC4NzdiaJH7cO+/hbPd/A1i9oIaAeSsDlRR8a1veEJIVGVXDfpG405hK404P0sCLUHwgAmmTnEEM9m/Z7gGC3uNa3+5ccPCJigiBTZYPIBVuLgarCbNve81CCnpIGH7Z7k+Loy5tgQliqlD/F+IWXy1a1DEVtybboGnAARMzpugeMFeiNVqGVkbCX91j4X+YqeRPQvKrWuR+qIVlVkHBfOMW2bWxSdme+LUkP+AKVbsUGEJZFlYkYUlvHsaywj6ZlU+ZiIOsWP4cpQNkKTS4SWmsHV6BAssUs694mcOwVHUeyjsAzTRFJyM1acl4OSkQlVexdko1KJa2x9A9oVKXOr7X22mJnZbrjDk1H6YmFkuBGPzcAi6ovDcviSTs9aoF/ISFBhVUc5pw7j1Uu3hsq/zx1MqHAOB+bkOolayw6Q/NwJ1K07qaLsDsmfcWg/TC9IYc5NpTKg+9QtTQA5HRPan+8YT+IQVdV7S0A+cXoQO7S+eTn/V6FQdfYfXs+tyYvw965K+6bw6+X4anYY8BjWy+eofj2HS+dgHIJAllo1AmOw4HUzEDqaWxbFze64iMaTtA8lnZWa7HFu+pb0hEfP3xZxNGSjHOVsSW2+EaA1H2lA2X6acrgJznYtj+/sO6KTQyyly5oUOPrqpmdAxpTkrgVZMxHqhaAynEz07tsnSvG19Y6UbMvcBCeT+8J13nFDFyl+g6eElZxnrwvOwMIdlbXiNTuGn7qzwDYqylHateB210l8gldTBZ3s4kzRnpuHlmI8kp4H+gRZPJFzMzRErSconK1BKu1hBhGhTUgllU1G+ZzJFOo4jTpMSiUkNwPdB1oiy+K05Zbfu5vmll9Uob/WSyzszCws2eSPhyaAK0OCwGrLuBQ+mPdSovTO0un3uTCH+8GXABn4ndNtycrAhR49PQzkvmYzllmHAt1rzKSkx2y9u8Bjmw0CunKTW9ozLqv9AgE7BI7eTEIsBlV2HRe7zqiQUvin59tRlUov7SUREySe1bWtrg5NEMVeA6j0kie98+DshyBbVlIZ9u4Ym/tUib6wqOmXFgC1QAN8A4uoXdApVHJW9Z/4HoZrOP+1zOd1GgdCQhFYKSkXbTb7eYJhQOXZY/q7ih7QTxberBaJ44Lc8z7vS0xmAoPI73l0Yv2Zm4PtxWGRpTi7fcNSHhoJP+RSe6nqR1hKLViu6ZHnbejsL4o28QMqS+t5Tq/2K/WAsXIkfJErhymwzkoFYd5hYsA23bwAclIi4K+tg2TJKEJFH7mElqmDI9YMNUB/uARTBlO1H0NDEhqcTFP+5LqSubW2rhv6fj9pGxr6LF0f3CRZuotiio8jA6SDJ2+4gtLLCR3TzDWlL8atfdqoMt+lCfD4Uk4SKtoqQxc50YIUzVNDwCmI+Ss/NkC6fYxDgbRz2G+wXzoZOykQkKl7JHDkFEbfk/q7We0WdpsNyzxFEsk+zBW1uRo36jE3F3UR+QQozsm83VtkzSraUlFEOMvYHNw84jLojZzX9ctongGTGT5nnV/o3idd8e7MDIKnIyND8RtEEUJNM9p98hPesKGvVQoJVWp+YOD2UT5LSc/pqAzyxOfCSa+wxFFlMBmbQH4wKqvp4fbTuZA5UOPKBYKJPYgBUdawjrVHQj+YNeQ5ZuW8PEFEb3zFUwkA7Qv3V7pj8nUBbUUQs98WfgVUToX2SIouxiVV9OpwM8WZ2vePhtUod88kf4VGXnUIlRzG4Cp41qtFGbldPH9rbVZvGLEB1LFinBGcv+NGIPeUVrwKJzT+Ev6jj9j8vG49T+wjjJjse6kRkZ5Dvg6CS6zMZMgAC8yqRgRTX+pRWXSvqwHKETlv0E61VCDDK+xjY7mO6r/LhHblWY+Wql6ZfotnzvrvGFRg0kxR3Mkt0ErvL7bLi4OmnKaS40Blts5bQzq5SRoO4B1QX56HIDtc91otLuMX+2PlHgjAbKGfwfBfZkL1nAG7Oj3Wjv+H05qdMxb8cClFKbGJLvDc6jDvCQQqRinLKKNhIdLnLNDjLCVMza6VxesjIVbTZ008tjinIrib8WwGB26Fkm7vwJzrJPCprvlZBJSBZFfCd48FuT6UH9ZEgEL4QYr1vXUrJtHZzFZD2m9snocg3TXi58yYHPI9pFmeDsUrFpk3TgP0D6n7SvXPXHfk+smwZHqpJJ8z0TFjO4ammEua2e6GpwwF/0ynLUW+p17/Ki6OsRs1uFKheiGpZkygWmnGlkTEiHXbduUiowdncjP5Qx0F6hVo0JIVaWuVHpehl+nL0QeLE0Kz6LAcOejWKkJjW0Lgq8z+pFhlU+3UT/JCi5BpqFc8hFgMEx+ufE5spNdq3YjwnVbkUuI2Lcwf+HFeHF/QatP3OYGKXLu0dmUR/gfpiiPfoqS6+RbBfhn3MhWWAVNnJIG4830LzPH0gORE1kcDeMHAbYKFUNTR5jG+0TmM+JBw3P71T4YxMhxTL3lMWt9iuaoYQhVGl77MVlWZLxpg2xjPuTHCHvTGiwO2WkgpkvLjeMHZaD97CFBXHVLt7pxGmnD17wk5b8+Iy4PDFglCFmpLfw7e5lJJ9ezC1JbvkFPozYc0B34V+IeUaeO6Z1kAn85ktCgQ/i3EvdiqHZ0KxGjIAYMwsW3NmJj43BMuEptpNneFkUhxKg447vw5RBMxRNeKtfaxP/8H5a2asiDM5IM5IR/u76ak+M5QXPiUGpIwSoUIQNHgULjfxmLJmSOERoWFwXjWlgnoQxkgNw8mTcq4TQC94trUJ4CyqDSJ/2umNQXQuyLsIKCeA1yz36RKiaxhAxGh6TYqVslN0QhR/PYn+tTPSilyinvHHHxIfutWJr7UdlKNXAnDOe9QOu3ZzKJTz0jd/wNYtUtvKyoU+2TB57eBYNAAIcKVDN1HdAZvZJl48HIP9e2yCAdSVZ68yqclW6zZ1VB36nBzJt9qccG3EdE8mjMTLxPW9dDCzqOPqb1ZS5DHnXqW4v9ex9VZuN66Ue2Z9KiUZks5uy2a3B7Hse51bzQlB4ExcTlp2oflcLfCQhlCExEspQEF+QRBkbvtbOtBt4z2bE3Izh/TYD9RAZAJhTHlmtgnu5VjSsmKh69u1PHXFVdqyCW4oWIB/OYe1DbFhvw70NjquR8l9/tJd4ZepyK5sPB2eYDtyqzCn4vW68w3foEl11lfbiFR7cXr+EU8OHdaa7TOoqWe6dPqwzbzz/tVyNu0m7D0Sx1yft0z91SDvKY65J7Yg0NWpD/YTh3jQVOcYrcoh8+Wji+HqlA+DJIUgElH6CZplmj1xnkN0U9s70ggzbvKBZkN/K2L5aUSQ/1wEq5xPD92EmcrjEqN2Nl9BeStKkmdqcHYj8jAcx1N6iICQdRODJ0FNQMryEPgXkppofCuGjzfBhmT1Drydl/MvzNNTAFbXwf4P7iFODiZ2SVKLSRla5a3U0Zps3IJbQR4CDMhtszjWlz93GdHly2qSBHg5/2FjaiUv5Qhog17ONJ4AT+5wvPLPFD3suFQyt2IVXpEU6yZDnn6kE7iOPvJfdOFmUW9PM6nYZ8lHW8U3rd3dnMT9TJB6I2NuwkLggUMoeKkjtIekdheqAMycP/ji5FEJybb+qCSGZ4Q9FDtsPa2e7Ior0YhMI4ADL/AxOTM7sqLz7ka21q4s5L6Eck9MD/TpyDK74aLOlL4RjUYrZ2n6Z0OkSu22twn1EWN8A2MdzmjozQtHndAYbKj99/hG4sj2uMIN5oIE+ZJgF8Qfhu61NHsNyR0zMtdKyc7WhyPW1HxSALsilHTPjIh2N0aNEWEfq8OIYnRSdA3cqE0fIFDFUdzgh6Rwl+ZSTZTR6EAhaNp6FW2X0ROYS1dUd8oBY2GKO5XJMncS/37G+4PZWKwzfQaDIsgZZ6DGRfbqbHCa4/R51CIXhCnjZbsc/++r29e366xSDT3fjF5pfOYQWSTZcj25R5JsaiGkegOmrXRwlmrMIghXnu497Eul2rUfThBMYJepeO2JGJOLXjsJqy6HdV7Lyj6OrKBWdCSLibfiubZHYm1Nk1KSKbyQvsydSDnjQKJ1B7oz6TBKBDhCA4HXB5XSFnihyM6rOXdnKf+FjrT2fig/WzCDk3nteJ7ug8f7Lr38lTY9T6m6NzH7ShPoU8bggYGu/DNnQeo2VZ4mZz2wvCcwWc/fBxkwUOv1aMWl5YLskNdodGRGV2RcYWzwTKGeaEuo/Khp2wxMsCpdN8Z1maFFiBx1D3LA5fGmUxE7c0gvKDoLx7Ikt2WH39WAE5JxwXC4JMl/L8xMRsnsdXNWBQiIpGsCP1E/UuER15k1wNdywLYJ3gquEPInl0GwleFWPA8jLXPwmB1dY8ODy7eV3PvX1SYWeJdMtX6/z+QCDspFvQ0i8Wx8ADgZBFCfr84ZV21mva8tWPuYz6h+ssZRnNrrAliu0Tt59BVDqA9eV1eWdoDAnVxuI5MoKpKmr+Vw4aWH+3V061LGUxuhivbv3dO9I/G4Bm7G7TEos/hIID5PIzN5m26mDLRNw7XV8hsyP69DV0OAeKAd+QbMMsKJapU5Y/SJxpZ+4w6j01HjXN9PUdfPiVy0QrbplebNvH+G69FEhIiEyqic1VtmMClzEVLj1ayBNi86B3oskDS2CaaNwLkkMxI0oyarASlhEyxapvjrEosCO8yOhInU6RKjrozyxQTo0Ui/fGSd6k/uhcg2MDM3fAjcOoxzcGFXRAx5RaPaIjQ0p/Lbs+YETB2mu02rBbppVs2iqsH3gLAoqGV1/ZgjSJNdT3Mi5HoGpYMDFs7aYzhhaKXEt8wgMidGWcQd6gP79yZT44gtwQA/7LKe8iL07KrLz6DtAdiHmEopyFvPCNZOIKcAq/UhdMy0Z8/5hiFfxn+1XC8VY6s7H18zBCUaqpDwkEdIoNC+siRshBZAqVhRsLaYKm0cwvliM/G9HWk6E4xE1WgN7Knom/VyeuJDjeN5SXBSqqQdioJ3eOGP1/qEUA/zUFB7M3PmOXjYi0F9wh2jKwwVPLrHwzBLr6Acrhjt5jeYk6lQMJEuMUJEbgIXjko6wg0anUAoCy1RLLQE29Er1tHEujqLtmxOTHCFKVtzNM7AJaiyIT3V3HrtBX6gayh3YOcdBU2MgHja0u0gjQ7VPAWMjJ6DT0BPr0se/u7t1g41mBxEbw48G+uwBjmRGrFgOMWDRX7l8bjH6nZgQR49TNrwDgL3qlLIiWsqQd34dD8EOe6WidZk31IKvzRZjKcpzBeFFQjX3EJI3LisyvNbou2liEBh5r3u/sFOof9HKMgyn+XKo3B4FvJnXiWmLsLliyfepjqXgNJM+ZqUkAck8/ClvJhDVIqTl4PE9AUBn63251pJQYu62cQzA3E97hbwsoDQ3unvUo4dzAJCY5iRUndRM1HajmuhfjBwbLK+g8asY5rHO1JIVDu2QKELdA7Qp8WBJiZ6vSymF8Qc4lkReVplhTt0NYZEcNbRsDgG9sSV9EGfhcDnM98VxRSNdj3GuczVdce6h69C9PEA+ZyUsGwdzI0Npg5AMc7/sAdTeCxreO0EfNXpmRxc553SP7MpbDsb2eDdGchbB9/wrQBehEVdftyRbIuRrbHlGY8WZw9ef0/2471w/JXPmDCegxm34X2x8512WYte7P0FrhPOfl15sMiLuuU+TDDksE/ORYBJJc6taPMm80JH7R06rGY4eT7pg3S/tToA6/NVadyxAZYQJf8lydh8zgGWjc0y1Ef+dkNusuTOdRaXOgMQ25aB+AUlEiP/F1PL7AuGUJFD7MqhQqkVz4KFH13CxH2KLcbHypwtjM2pbvKJQQlqCLibaa1mnlcoHH1HrQYnXa1Rdg8phc7er2suh6oxT/+iUMikCCUT3Vpiuoay4+xqHfERPE8B0yIMh7HqxCpNSAtH2EVT8MfbyjkuinriMY+zkcCnuu4nkkS/Z8DdwCYVdMEOjoEZWBdJbiOnVLtQu4cSzRJTrKS92kxy2VYyweUS6asykjQveJQi52hDqJJ4b/eiG6STjHHfKxHsHBPaZlP1Kuwlr8gpMxBbcd1Kk8QDEma40u3GMH4kqj0yXttLIIg+17ofL2wDxFUqfiCCm2AZ4xNhdPtsUxwZQ/zMGube/k+WTu4zQUDg3TDDWd8OF4v5NnQSEKHbLbdiNYFHku67V2W2ImcKW237rsxh6AYLlfwQYIZaVjbyxvWrKdE+B3vQji7yivxqNL+cvPUi1BetxPno6q8t4tcRg0ZpDI1Z13gJpsRmUUnhMG4CxLlBCF62WvKJOvPYQSxsEYpBC4F6eT2yggoSlaWAgxNfQD4W1xHDoYNdGmxPMSMusa1xUqQD/GXDXnxjXNWFTCSvB/9pTdr5IoaEd/7PfstEvUymjWT1HZlhQT2o4cSombNa0PNFTs+PU5R+4FtEEp5646kf9BRbS1BFWXBSXWG1praWW1I84iS3J7Xn38mSb4BQ2hisrHt6zg7lcF7kSegqTVLAwTDvcRhGIVR6KKaKaeLXXLAKJVggqK17BqdgxY/L2xGf7gGBpXWtAfPYpxg4SBxDCPq1ffIjCg9H9F1rve/eg88xSjNYak+Xj5bI5DXAV/13soN1cHpiMeFs7U9t58+3A+TRTeXxj8g8S/ieuWnhRN6jhzr9J/rhjCsw9Axh7MD77N1BCHfHooWd0AyNALb1f4f8rC1HxTR1Sx0pzN+as+SfQm7QtLf47IhshBj2cpyjVNjM+HV4wB0mbLNfrwUwXnJ4PGVM8IR7316u3Tx0sYy8k1kL+yyVZdlPtIaDF3sHkpmsBKcp1Cvc+Wilr5enubU3tKFZwytGtBQGGcMMQYPtpTFjYqhW5CxCdkUtkUxK0hg9+AWKAzWfnx2pTqaJeKaescZ+H6bSAhroTCNsPZO6B7YK/rsxxURO0urz5ZHZXw1Cd547DqjdTyYzR/Oa2qzlif5Z/UhBAz9CB9pMP1fyhsIl5BtYCiNLGbycQrFqt9D+Jn/zJSD7VzLq6iggOjdiOZfURqiobnvyRaRK1kvqfgT4VkjuBn33JPsoxnF9u1+sN4OtjqVjR0IIsBPnTgVzzJj+JpI/oc8YXhYJWsAEyMsCBhL08haUUrnreFfrRudY9epCUkwdpmowpi7+Fdm0AoXJ6vn9fysKPAOhmhdfneJeWtWHEEJV1y3fW0z/SLWHoHr09HynCRDSRwlxradeVHEdy1xPGcYSp+5wBE4QbY9Zc58c3jvLfTM+klN6cw9wSap+HEOVn9NK69fW4m4t1CupyB1fEisKSkXKtdN85a6tOu3NJnC7I56wniDDvLIupAcBmfAf517z3KaozXruHm09xIrH08cR3VhYDpk87hsMWFNh1eYNnYfCojbPEVHqD4vMWX7DFPY1r9dsM9uTplBW1bezlqnq1DrIIykUYa9HwZpoFdOqMJEYHVrMgdRXLyXie9WPwbgBfjEHq1VNHZV4uMdmsqft7Kok383NYou/x8FzRfhsx5T463c4Lp/sCFaC/d0h1VAnHcHEJyBKkLj2XXrZni+lXY6yZ90PdBF6FldUy4nr+infkZEamnywWenHL3IRmxdIFQDAHJmadHvHI/sq3Xg6ZwOfzyQeaLcnU+jY8spr98s82+3+wNG0QKOtl6qysztah4lYoz1O0gK72iM6/+A+dlgVmC+no2gT9L9G5nyxPk9a1WWFND9M5VEtyKHoNsE06K+5O0KnxJLTxlGKOcQRuaOPMAaZuH02gh1ngLhTEDIFTKNRiT6etpsN54BmwYUwDuzM+QXHPoFRqO40YuVxEChOvclCTXOIgqVJUNc6Y5/PK6r7ca/ACgDn2MLpuGAyDhyjRSGKWDCRK3tidW7FQGYWmsIa2Kf/RqPGH3+Zzx+lJGGK+fgk/ylKNv33T71DR8v0CneNXDTQvVbuUM+hacpH9sDnXbZULRyAWEp5hFAx+24I6sYwJ1ydZr+eObX+QYx2St9pMbxg9apW+6SOPLd++W3/olhZs6/TervlYJrqeZ6mTtqFt8vaEbBebt9I84h8yB6thQsU42/1zCkTn+5S0ORY6SuA7DasSnlfq0Z9vsG+5+kpGgtXbePpKSuD9Q8+reERPwOyn5L5QsDJrvuyD+1s7ubBYfCp6V5akOj4CPN6WxSzIuVmPq2Q79+Mcn6g99a9GwkC2Du21X8397JeRZE45+8dVIIovN0jHZ1gYW920CjTDuShm9MmD0jSz0XeFEFo3bPFTDug/nAyoROBcgXJCqmZtSSmBqRzPyDfp2AFCFKqYU47uTCUkNVQIEX9qJRI2eRx7iPetxEd/adYtVKxf5f4td+fHKhZCIWndFO+scCpPmWTj9qyBaoaGbtUxiZf5KzMi5sXfWD4sbFPLYebJtJfK8Pdz1Xsr+Bml9aqbVfMaGVljjF5UPG+3lsum1QDf49EZIukB472N0foAYTQpPIPFCtYwxC04dhtgJoZdb7tIAs10EzwZ2jVwFgK7ulvXBHXxmMxuCHpaJOlEsapeik1h4uy4P7ymgK6kySPVcewqMzwEp5KSgUvKpxQp9KwGFOpcoogK08py78NskMSTSb9ouTMygdvGVbCI5X2Aon6pwBvLBxnKlSBBdrHw3ovJXNow+sNBOshzYHdHw8KhrfioA66Ww5kvLlO37Pa1WxSNtY7rK+JmNGuFI2HbKOqwY8yWqQG7qJdhwII4sBtVK7QEl9dhoDTvFYb4Md+VIcY8Y2gRlcJ3lGABI3ZuCNsJBjTfXIlU+4wAj/uL987Qo0ficHwSFEjhe+OF6xsqbTZsc2Ee2XVliQLwGhV2hRHNgbd/trLMOCLCRqzi74SjhgYFOQeLhzkam8JniRToZ7QCc/8yi2b/tg9LZsaALQoNglTKWEdhNhZ1+/kkM5a7fPuabeq6aCzK64jboFvJbP9LQcA4P4gbWz8yjwSSDNsGgV2O/NolK8lVNdaBhP7B56GW/1HGONkuCY1Tud7xnNwSAmmgA+aDh7AjM3t+LbZupZ1xqXPnVOysLWmPdbNKAhHQFabhBw6td3S9ajr9duUUL5rDxSTVu8pX7HfBIkYMdfBkuyaYEsrbwQ98aNa38gw1XX1iET0hbZx1eiZJ6qtZ2SLq6SsRg/n5mJFluTKmDForg6UfBhUnzsyo3Hrpf1vNfKTtRSyU2Ae9rbAMZuqecmktS8guXW803R9aqm2/ZtDc9EKCXQuYWfImlaUdJjJ5oraDypEi84b0O/VHbmCGYZU3qhrBLqeS04c6r2YGJSPqYm+oKmo5pcGX7vEtkdkWc5J56sV8/HyqABArYMeR3CJWZELOZhyqT41aETKzmnWLgJokiB03g0qSWPrhP0zwjjg4+RnqczO8gqRs3QdE1qjGUEsl1PEolZMI49vJB/Y6Wb6c7DLcq1jbn+VjjJ9+5kXuhkxStc/O5EY1dEL2MiYyPBk5DblzIIfIZXQ1sp3jOZo+iJsyWuCZlvfIPPyOrzUvi2qjWTtaflkpwara5OxcVp8swwXCnocu03UE6dE4GiCTai5/cxfXKT/W4roDzDA5jlejtVjOn3eC8k9CtOEwEKig+4p3FTgd+bQvJgnCxlPteR52i+b8wGYbPKsauAzZ6cCg8eqIXwdabMrLWxbqK1iVF/G0pFBA/Zr860bErFoE7E1zu9U4igacY1S9Xt8s73oiF7NlaFIhvDuSTNFROqnj419BH/YyxIULpXqye+AETBHWA4+56nS9kZFfKg46nPOpU3Q08CTp5+xxaQ+SIkaJbbPdtaSE0G5ZGKgQyLPYPlJYaOBylhnuHhA6d4qTXon+kqxbW8eYztrEQdUTUfdYc4jVToLvLwOT0cuIDlhE7oR9QQmLzmE6AsDxpm9MmyO3JBqNLgQM4AAM0etgfldjRgkfZa5LXCNEJOcPaSLozPSb6ASo57yqQ5JyuSgLgNiDAfkBHaLjReZ2lezoYqj1lCFDKzlB0phhKE4DKvM80zt6PemrZXEmu00YD5EhlJcBE8LbmUVAb8ANBcLHIVmB/hlSFdXYxAnROhbRGT8QinNJ/mVc+eR69CjxJccyG4YhN+fr3yOcVok0J5z8ikt/cg0RhyFXNV5hoNKhiKA0OXMllLqHPhbPr7Xy7hRhs7ANqWpAPULVrp0xuMs0rKWLkGlxnl0JZ50dqB5PoHSaOVOT36Qq8NUCBS3bCR09GRO8NU8jVE4zkXXA6LM5RxZ4Ly1vCqVriAmR+jPueHvUxHC+O3XAk5AjWSmyFQ9VTsxCBhnNgGslp+gEV3cvaFSPaeOkVimDFR7VEeuOxMa34tBgyNZTMkXQljrdNlI+tqheTWLfOlWutes2V+JCMy9/5AVVLXlhUbMCk/L4PACcM7tqLOjO1IzOP2PkFLSUyfgIG5UNOS4el2emb9jtArbpLCQhhUBQYFoiPUKqpeCAEfW4s7gVk33i9C5lzdQ5GTT8EW4L1y7eVRHVyM9aRdtxpVdi434bHavJqWjcoX+yZisc95pPtgNFcm6DXkN3FxRIgxEX1B4FPX/d9fNXjX05QsuCrq7QPb4b7esD9aUCs80TnN1lwDFS5Zxz+dEvxUybeO4EwcR9m+QlXX8DJZQ/FCmcb7CSd2bNE/wYYUYfiFNwt68sYehckZxYBOugmKn0m+KSMPDXMicD6uKjjYclC/lHrV5mITqk2z6DODyUdfb4T3GvNNrQv81plUEANBuXsTH5NhKDgcyiui/JeTL2GDHpvxlJWHUVs4je0B0CsvOBJch+r4QW5CrthYfLxbSeUO2Gjo9OACCqlgpEOHwSPYnB73uwQEXaJARxBCytYzBFMDU3ljJol+FkHFfXpSDxMvyfDy3iy1pY4mo63ZBZuZ2wWjRbpeabnQjNKQz4EsliaE7g47GL01CDvF446MzaDkXsFwvDy0ZIlmdLY/9/lcdxagBufBJNPjD6Lj4HwHhSaoTU4oS4cIH9t3DSciZYd4tysw5RdaGNOXZ43wBvHRaKx2BlDJjdKHx+zC3TRd1tk1zb9HtTpx02RRdS5TQ7kNnNjxtUkv7haS68dNmD9rQPhpUNgLhn84tmAqP6LtBDWyWU6UDejAA218+mYaGbTvkHADvjKzNZYmGQ50Y1Z65lyuMEpMR1Eo5Mq3Wfsa4XWPqqmhnN5ZZZWgSyI9eiv4sg3RhAuPHzdcR0OQQ6ybSZKxbsio6eeul5XE2HbllgVx0fhvFC4cPHJ4DKGHF8vbZ2HqRUQBJWGI+ztdxlj+UjGppf4hDbgTgDN6EBOVgE1UgoQ9S6gISnso2OwRWpK1KhHbfkMAQAFufU/L8bJ5aYIkSSYOrjHDa6SY5ykGBuDPz4CMQwz1a+nWYpZA7IO8Pis4ho2LH+fMw1QAxE/RnnnjrTqIPB7aCJrp0cXvRETSIXp2ylTPS0oIVO7U9Ivs+cJD3Viqjczz1HHlU0sospFk6DUZGZcM9dKdIGuhgNCWZmfNwNJbo1ixgxODZV9Go9PA7thHdN0kbtHbz3GtHZmnRd53OixrP9ezS2x+bifX9HvLFCGGW8V6QlCM9ACqFE1SUc6UrqWz2QkzLip0NIfbhOrCXThSm3P9shDEw8gJET1Kt0nybFKDFyanJO5R8zGcGg6mtJxZ+e4YFIXG9Y8BGNXRj/zFQ39f9drGr0eUDnLvubWLEOmZ2ZcWcxhDBUZIduhXM958oLO7ZwRwaoh/mLSTa8ImBXCqWHfj0VRxTmPj4IWEQGwI9qBuXWnLuDxYCZL2dSNH4YzNlSe5jh+qTe0W5P/gXD1w6qdITP6Yj1RStTLfpypT9K24RtgKXboAg+Pi1PGTrfG/+1yjx+1lLek7gRnjYeKXXb9y1Joo8QZJp0oEWhDzFfcgiPz7YBbwskGdG5OhncSfQ8DGww21bTl3j11M3kqqa06KhNCbOeK7p9R5PW6uJTbDRyqvQ6Wq5iEH+mbqa9hVKY+u9yVmZYqcJL5bCiS60qSSB8DAhMzF/6UaWDMlgUps4A6iL7nEKtVkiuwJhri/QigEIHcwueE4Ey54iuretwAECZeQhCMvqKwpXPwkWkHW4pgYG+TRaPh6E/XGhFweEaO1Rx/KX2jBBTcpkInov+CQpMpKLiKguBUeTPc0sRLV/5/RJoWJyqJLfnqmUZb5vGmOA44Ae0BIa9CC+e49wNO3ut7/UeQ5qccMo1RNqmCcziveyTOg2sfyF88SZjgYNdeaPXAu8L/gf1PdmZ37cBP8HE70b3AhPB+jdHOQhCJM3UVHlGGkePVjtq0/TjA/Xo0aNYLB5na8AsIb1VEdWFqW0gsyzHO61NWCIBz18ceTWKFxo0BGLCzRwL905LniTFWKeMmnhK2sut/4jjBR1UhRzmGC4TSBohTOkh6DFQzT05cHo7CKjLqjFNFwAr7qumSmiUezLh+U9vpZeS2TQahjwNlosK4ACAqwEddeaB2GWA+x9uO/1jf0H4PKrYlXButnpI0dO8a6Fg7hxQGzsslFVZ6C0STxk/OXr1qKUvll1F+H4U/ncsvxTZesGokMBb4v6TNH6VSqhvtvpORJz6SAYlP+6E2p1evvd5zQMZ7SjCNFzwJptNYr4ElEPE6A4oAcvAGE2FO0PT780sJNvUpopqlfp31m++J02U/cmY0sltfLEQl9esmR2KY8m5CueqtcL42OwtMfCD/QrbV9HGKG3ZUaWzhiTcKC2Z+56OYxk6L03ch04G1Bf1EL6OWXssPMw8o6gY+XHwFQKdZHGYSBiN9B2kkiL2gxzLap49/7JTAFgLSPRB0ORBN1Yv/kEE=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533400" y="1066800"/>
            <a:ext cx="9003323" cy="48768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0643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INTENSITY" val="LIGHT"/>
  <p:tag name="BACKGROUNDCOLOR" val="16777215"/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a1406160-1341-44eb-a49e-77f5f087f35c"/>
  <p:tag name="MEKKOEXCEL4" val="636415196220022596"/>
  <p:tag name="MEKKOEXCEL6" val="False"/>
  <p:tag name="MEKKOEXCEL7" val="Tru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TkYySLXg3TSIe7gT+Jv77Ulfkc+ogz5x5K8JVbfN0l0653HQSkRUXtFmnuNIq0lUdVVaLejOLopEis6BersVSXhZTGh1POzrz+3x3E4OGEVd/YsEm3iRd+pSSMWYWTNLfXQ5Mjwn7xgo5OSFAK7GUNpyBoOND7x7mCy6uvszDE7ipSrrr9ypEcSxoDN3JeA4jz+BYpoGafI6YmzwKAOz5LUpI1UvTzuktIZOaboUNns4JWcidw4PR5HaNLdRQ/fL1f69fP4YkUqUfNoUKYQc/2VSRiJalFjhaR2wjNTJesQC8368eVIX/1G6XoQ8LO3DR+4nOI0GrW1xukrc8aGOreIyYCdC++L7V2jefuZjMaL2GF59w9DS11OaMfCgttAo1HyW7bcG8C/ks8QV3comCt3zK4sVQ5mgBboaZImB3mq8nx5VvNuZ9JFgIbAWu8UofZTRANGXLHyQelJWJGXgwzDmkM27CmgMGE4zFLmnaC1w/T0sYIFDeCEpKEDA5WbB5/8s14yAzPlKC4AcdFVZ1+fe6k4Y5VXIiPRj0cX9NCKlXD0cEmCAseFOfNUjfF4xLySDNeFxx9SJoHxusOfUc31nDQr6oWXxsLyPxVWFXzVw2T3QFkRYMBs2uUzrcvfzNI5dVkg5nHO44OK1Fs126IstDo8uSlKbstYbm4R1WyD7yFTc/mPuD+MK70sOjbFXscbzAyQRK60D1yJ4owBet4m8lbVAC6xthe6+J03r/uiAmjXLeH0HrjxvtrOjN/NCKmP9R3lzXtiRqthSG1y323A8tJWGevHKVw/S6/ltymM8smTcwusMEYBr16AmCvtg/j3GfbRTuko05xcD+afpdLYYF0CmaX7wNgLA2qUvdBELVr2B/mh3EuxAnJYSLRsMf9cXFHzQh1PuODngF7SYKNMn4pkPHJwgCbUxzD/wZJHUjiV+aKjggdHg/aI/Y+LtgW9q7WuhqHQQSnxgAxysdVBTXKlaxCUGih3VrvWgxM0TcKgEk1s0Yeztrc/X1vqSzk+GPUyvJTfj69WZ4l+TTkKQNNEnDVSirqwNA18T86d1AT7dUeRjbz3ZU9KHuNOhoM5tGZE2YAfQWKFY5nI/tnBCFZkTuUIKvacKrhweTI5PRfhQvyL/9MYADbFPJ0feb/jpYBg65Y9rK5NxOeEH1uXJriFHiZLg0oZ3gnltfZUe8Q1FlNEw5ECOswhtV/fyt2fFp2mn8f39ZRPaA8Sxrf7A0K1EgFpO3/EPntEau/x/RRLBvPXeukP6J19PpopT3PwDBl6ISjy03kfgHPxAT8jkBHcu4QuVwABQ/i/0zbBkMO6iDVXISg0/K5eXW9rNTkwWe0pYXh53mg54vX9m9AmmEmQdyPpEvOg0FGHlCTDQSAaivxhjWGYhZ1hQzgh9Q60i+V8w+vitBYrwQsDHw31XGEwYgPlQOWjDDk3fOYfaeCn5lSrbcZ9IZjdZhcOGAEOYijvrhpjB1/S/EOL3yQCmWDydSWH7irgwoUwBJc77Q1sUKQvKn8wGhW40kRtuwn+ZAJkWqvYEktl29NRwUDJFw0DmSLx7a2YqsedTnciCKmuJDIxWeLnaIJa2d79c895iUTcRNbqD0pn/qZ0/O+ub1eIe+fQXXun03uTtAHpaBov+huqAiDLuRxNfjfUy7kqWJyAg+F8ogcbA9XNUSn2YB6o3KPqD0BHAL442Ini4GMv5nU8f7K3s0yVf7S43rgvXFCZ+5IrImrg7QxwvOoA4qJgAz9ARuGpZRFlWqfz2bjRwH34XZGCf08/O7isQNQrNKy5N3VhZw/sMDR2xOn98g2ijC6ZQ6sRgvnPzw30we3i0cuIYp8TuhMl60iYwBTK1DBkunVMqv0qVGtaeRODSpBL5sNa8XXThVjVPC+o740mr459RsZUSW8nvS9uyGwrl4vU0Skdm8NnRiY+XY/N2b4STS1mO2OfGY77XQLyfpd9HDoitR/gWh+3UMYpb8d6uVoLAbuMQPUm4PhIbj3IkkN1hJWQJcZLnTT+BcHDL5OUZ8xnLKryuGRetnzb/lVSWz1Q3R9Sh6A9zEwHAkjPYJVfr/5/yyIeXOausMGx86HfVMaSpU2LxpKi/sCavlnsogScY9ALyPuWn//YdaEK/wJHFaR6iKXnvPdFMWxrj0D704uxGs+3IGbjaN1L29ekf268CVsTdjjUY/Rn6dv+Qs4gnVbfGTA81ChcMxhQtrvk2y5xiJ/sq2HS3ZqN2w8yq7hLxK9PHD0Z1fplJ8iv6NxaqRNegvJau5UPcg8gpOfrdQ6UxADUBDH9pH3k169zE3ug7XXb4B0A++TXxok1Ymba7c/zKVESVyfnf2HTBY32Fpsb0U6fOk5WfaMQ5It/QQYpEZmhBzwM2jdtXINez+GGiYnBYJ8ceUzG+MbZ+K4PZJ6qCbCAfBhPmWOStW7qvt6V8JhGdY9DEi5XgN0jQw+XU4niJwDEbklXuU7stK0hNMwF2JVQjxkkVjYqMKP+uTx3dRrM1jcOjws4lvFbb/Cdw+uM3O83tnfumZiijTW3IDZ8rt1pbob9e2klEx9SoMzDo0kGSoip8vH1zUiOkpT7Wm/fUxXIUWROeCW0vUQiQcEKfBkULWtn7cz3g3uoKDkISMV+ySZNhqVdgv0X0ouJBVMJwPUED44Gg3VhBuV9+Q8VpSJwu6DwnYhh2vlBpjExEmtIcSNPXnw/AvYgFHOFJGYUt/pW/GUeGmC+VZ3mED0k0tnT4DFhi0+N6b77DDFVtRJnyOu6WKmxK/33kaNlrFsEWA5yZW+reN/87Yw7ckhbdAVC8oZNKq9E7V/h+IQuOMy1F4VddDiOf5JRorIVp1RSw7dKN2g8Ma1cOmhJ2JoZC9d2G9ByQ82ZZpFSU7FDBPSJgnnciIsuUVwfW4Hswm+pYYth6aQBdHSWU/3zuSQSqNmcqxGInMoOBG+93rV2fKPjas/JY4xYpjaJD0xg7w3uSmwWv1GXF9cwJhQLwwCi+OIIPneE681PnEmt9sF7TOMVarVTIYeXAYajzigiB7bFs4z42rC3qO+HfWyrthDYcczEmkQKVam5jhx6BQ1i1xFuLXqpF7/+KK5uEHavDXm2kPqGZJggvMU0/L+L9409imbTYdcSlF4js9IplI/+YUFonn3AaKFRgPQXzP5MSI5wsi/JsDkThD3EO0MxwB0fxPr6czdSwpgbmLmlepyej5DrBc6SzlhVYQ1X8cxlsm2ejArW+/TzrBVnrDU3LOIn2o+GY0IfPc7nVehpbEabVD3axuRddPXUOduNeIT/4VSm6wBuA6EKO4BMR/VmbsfomMNUjrxO8v9pULXwTqHQQCf2SieYSc6VBeVuOPwk4CoeQYQ4gv0AFnGl6uZgWk0rR1T+51g7UtFkGeyccmGJTiI8E8Gk0WPU51qjgPZB4CMfiEToftv/GUIhTLqaYUfpRYtb72h1wLlkmQb3jYSq83KBdOOg8lVdpn5tR02cSMcRIB1qB3Zpj/GuNI9jzKzJhyR67yoEqw++ojCZqalz0dfkyJmXeDNdOAbMQvFVb92JRFLIC1aO3tMBftdfwnKlTnk5e50/SVdflBaHi+c9dIbJT9P9J5rVB7KoIJlNDNgqnIFKMeRWBob384LHbsE0czHxXU5HkL6dzXGfquxv2aXPgsYjCzo27WpoIeNuVMjrzWnaW8kHqG96kT6zldycuLrEhHXDWQ8zwNeXwXLWsl4GNKzNSjvi5fHO+wiAFvC+JxhQdA/NKKfX5HAkYv60OTo9ZeR6Cwiq2Lwt5vbLkTT6mJlUl2Fv5tV4UrxoY+SrQZNY5AYshMNHeWvsbx1T8IQT9KHC/KBL3HYAjy8/dpJBdwrcwLNXykqDmTCVRxLzZWSRy8pu7BSAFQbb1kxTZW4B8Gop2CcImzn+lcEfoJc5FBxMs90JCVhjOP3K5EU0X72upZfHbP76G5OftbcH/dmg7+Ex/SYlQo4zffxRIGYZbmvIL/H/ZUfn1zGIoumFiZiggQhLOxpT6k0Kxcjm1inaKeMl/r4RJIxXTcSqz1vHMzlGu2B1sI/iGK1mI9BVfqv2ivrxQBej/kSmQZ0pobbm2VtkbwiAVdv7GsZPIMkKPmHJj+gfDyKOpYTnI+EQ/zINjHDA2Bbs5MzuC6yeLgdOJIftnsW4+sbDvjkMiiCwKa0kNvfK0Uc27x41WyKKh5+PKiE3SJUJMh0ougTStCIOxFWAwqDWw7tFjxtMcuEpnNBaKWqT519jbUjjKy/vXNNzwe6u9B9ARR0kEQea3+VYa1ocZTM9ne83T3MDD7jHZLFLjQrEZ090oQ33QP8B93JojvQG3qsDL/CRiqsyZqSmIujZo2AqaLSLYk4VsscgQmBqZUoO7xsPvY85uXDWM+v2kQYM+7WVVCaPfWlZKLeFHVW69q67yFvIyedvtzSztrOlsHg8iJSpdUupOshF5GPordXABy3l6y5fnbLI6wZABm2NjgjtKFpHoyakB/+hfcu/p1KJE1xZr1KSvpEfFNxHetq/sNj17PmrW3UzafXXiPM5e4WqOaZC2ZjUGL6BdzpHq29u4a7hIgv74XB1p6eiGKkhWoDCQU7B987whSoP30SZzfFZGCqswwq7LCAtlbBiSF6rWqBXDhoAgf/W1jTRk1o6cQMrFMgI2FLNvTR/Bz8dExT8WpNhYOBZ4CpDU3mGRywrnM5iMH2Txyu4LbyNDSTbKB5LoHUmwH3kOaCC7wUV8GbdNgUJiI5GMD+LzdPcAElKxgTLsJZIWq+SYjeripzvRzFPh898l4hDBXM4omZhL326kJUh4wUN2LjBMf5iUNUarMtM0Z12T5qKZsJgOa+rzn7q6+9EobQNlfCLtslf9bjdiMsv8SyDmtv7JqJrnX9N9NZR2itO8fbkVI9y6aQrec9SSh8jRkaoS59JWe9euUhuGCqrt1A6YkatG7+Qq+zzuw8rg317iY8VwtvHWxdvMYl1/9ygBAlPXmzFRj+5D/IVEm//qo0+CZFB9TcyHTVeCyFxIUhdkGVKHwtKwf2B6CaZfzXQ+2c9R67+58qUWWgQ1sRrPWHSPTmsbjs8ixnPAVUWs7/+sJYayKtEUw+WD4wF+WJJB8cQ2cLSznAwqfDJbev7NiW/QKfbItt+WKkbd7a0UOY8wRcdRmJDUe1yvRATY8Gozz+N4nBKVNC16qiNlw3Ad+PH514lmLu1jxI+iPLg9iY+z51PulSuI292vOw4HatDSrKkZJDX8QTOhmNi4NQVC1QGJXcMZ7SBki4X4S2y6SsIvSiURR9Udvt9VdglpKjn9+vx2A58HyJ06du5sFVXn3rFL/AK0GrWYFxruCLo8j5mKabMzO60TlRFa2jHGzWATiXmiyyhNKi47+7L/IO4WR+YgRng+X3Ge4d5Hll9u+ixVNWGQjSiPtu84+kQKPl7mi+TPRQir03Jg/3LQae1r5rzkuLzQ019E5sdSEzza2nlMeS2ME+NHcwa4wl1Ye4rf88vFLJWG9B400AyBuonOXBlUJYZ9lQo5TIpjr4C8qa06qR6BUOZYZ/UUXhJ6+yM04gSgt9W34ulU8+uTTuo0HG6hapnxFalCdFZ1Ygbw9XjYPKaPDEkMHU5Mf8PdFw/BnSBjn9l1Y4UGojpuqZMIbsL4ZgGVAkKOpdJvPbwck7bnZDpfIeG8dHoBQ3djnftqD/BaYvkWxstgoQmZEUyRgUVLy4xZCmyB/Is2dg0g9dOOE1N4/kBorwr8PfXQwAJlCAPpsT5+C/c94Ma5Lj9qwUbhtglSN/zOnn5GG7bkDqtKJgOLDCroM2EvjT1ODOOh73uUWD0YrNchK8/5iZySUDZwRh8SSGzHcyhwFMdlm3BTb1hGnXNI4vQYkW/0spXgk+ejCg7MlsDROoSa606W34OAKHcpwRfpxCdpo8Gv7oWMCQ01yr7KXz4cfmpb/qygXcmHIUtABqe8hTi/PUT+coBUcIwAs9z7poRk9zj/5nXBNp4LZX/MeIezAWFkKWU1TEuZ0bj6PM+TOO6Y+JXOBI70aj65nB+bFYkDkqc2xRjVgozUsBhIu5WQ350PCozkvDFOEHnbiabUfMvBwNGgsg08irksQCdMUZD9JvmHEaRFxI2rY3jV7SVBPe4EIS5jkLUelOz/eGMp2xk45vhzWbcEHGu1SFmg1+AYw+/yxw+u7QRmBdStBxYv09Lzn9xYMT5aJIC5/feJN7pDiYhoV7kL24K9WWG1HKnHA3ChZAjflGOWdjuy4ddJetVgYr8Rv0CUbZoVabr3AEWd7DcL/r9WVvdmyYuGS6BCjd/oauNXvG2SKXi5Hj3HHpIrSh8qPSUkvDqjy8MDn99hKtktKOQ/5LhNJfWWfP0dviU95DuFcRA6KlQYb084giQLlEMyPYqfFnnpWY+0EYiILTI4F2QiSNTAwMt5hxlSItbi2PZCaZBL4w381bFoOgmrb8bhPIopRiIHPGQN9iI1E6GxUSTu1Wk3cNycTbLbHijDTcMNlIE9RjXr3Qs2kL1s7T07mh8R4IA+dY0xCVAqdeJpfJcB9Z6A/E4egsn0ZJXA40Ai2ev+3x34OQsPauZuTCUhY8ev4uAEoCHuGwIyX1hKOJXb1IwkapFpjYsN9PHI3ZqLUronBDBZ0LcxUR6FbrVcOgYMRTNCUr8grGIjuGro4fDaGrw35qaCcEeKlM8RgL9lZp1srxBqv6Kn3T0wrdjskQpOBx53P24CpijcuxCg3RapSlKN/a8o7f05X3POB2ka+Zi7nIj39jWDxOqLpEyszgul/L0coaIw6CgarSXtEbrK1O5vuxBvP2uCK4GOzTFGUGWsyqjgntK8nT+y/di/g5Q+SAzqOYWfIq8Uw8cJcaM+bmnDqwZka4xF1hGyn0Lpjn1KblS0pF+x0Wh65CRFp/sGLZ2yYAmCiezeVCWp17RAnxuMAruG9LpKInHutwCwDr7XZkaeWoQjx/DodAQbx/ee21wqp09VqTKUAMc/5FYc5m85eescKQv6JhZnXyO+/NMjcY5yiC3aNdPhaHzTdBzrsQe1nC37gcP+uHmbNpu2gkwLuhnfyqlBKyUeu+Nf9Uk+ycNRLcjZRJYsoJqTW9PQNS7puop3S1CEp41T7MIJD3YAs8QZRLJtDGxDTksPkBtWTgTgtkSaljGFncGM1X3cVPA/Uw54OSdEzAZUI1UWBkLGr/ubbVqcG4XdOFsOJVat21yevVenHQGwt0CAma4TNxXc1y/63y8Yo/EYmTAoeqAkMKha984DFIEvr75BcB8/rHGwor+JRN0NLhkZTKL9ioW9DeTxEAYJXBgTjF6AXx4ahrvJlvfIYcb4SipmRxWLw3TXG01/U8F1GSiM2Bz35DjNjmEhEu+5Naq5AXr3WZPn52LO1M+9TLbSqsHpn+YAKYkj2Z+UQy+nxa01kOnsqJu7/t0w+xoVDv1oVplC4JQ0pcLEDZhSDpYqByIthuzZYlUmqMzbkf50VtJ10E8KGGZ5eyld8UTAQYlMj+PY3rKuZGx7aNxWi9Hd79Q8BqtlOmf937IPhKPcudf7LvxcPRyLTW5EsgSl7cRSMw/9jrM7HUXTeKdkIEl3NsVQADaW3PLtNingKBQTyZ7FUbEjoDunmCFKZKlIJZ0n7v/fkEEjXyhVUUkEJocoUFwQDklIkg5K+g4L3U5OP6n7n1HhgUW4cG5hEWTZhkZI7AWU3Jfygp5XJWIGbu91h2m9Lq02CmHqw7xfeRx0Kv1a4ijinK/XdP8m84qIC/U5iOtZ2w9ET6zhx0No2Iyyx0KLLkC+UY81oSCBcTVbW/5wRhDx3Y451uy8TKpXrGIu8Crr54UN9VQ7Kix8UPEpVN7CgdH3BXdvoYYuHE6pAnGw8WFsIVO+Q9Dq7+ws+9XkiXyl2Z0AtMYKSWLzd79265tsYR9Lwr0t1q5F7pLfNT5lNpxS2tBS3Yq7qLWAQB2cN54gQv4roxZliBFUdoWVpatsFyOABt4Q3k8v3Za7mOJpWEQgoIuZBs/yV/SATgWocf3mGadPi4uTMa6lD2r64+zJfNVQInaxsjv91cLM2HBJKBJYhjARO62Gu7bLkDzdrQ7WKrMsscTCpjgORrMnKiLJSEglDmFdyEAgpbVsNNw8LWVWx8yBDoqmZpLjY2mHPN90GCgliD3PvPNjjybVMEdYtFQhph7a6Im9HuL54BYP9wgkvAGfGm0GdKJnEmtf5ybPODcg82KQhlyp0mKgeWgQHT+LmqY4Tt6GWrfbY9qq5D7fi4GCvxsU949gWZUGka59/6Q2oDL6C4faASAqMAgL37B6wufBezUo0+jGlP+2HZIIAGjS0EGPsMUzWRONjudSUY4fZAa13Y117dhwLkJN6nzgVdjhM/vFD4S0r4RsVnWT+U96+vXWIZi/R0ryw1CZ7NFKNEwpXM9yPg4Dl850X16BGB1RkhdxYMDbcpePSXwj3GtqFP/+wcTnxRXTMEew5NdBf10iquK+fTiWSQKqsWbWOs6v29l9eRtEMC/MQoF22FB2LIhnVmduqLbTC5CiMCFqlstxqRxca+ZEU6cLLhOK42zLZiPZRTekIF7jYzCCCTpTZC5RcKoji/BLh68+dMP1SMO/63UDgdg3uhcldZFJ1VplpKPtDlkPUAkH47i/0tSUOFmBTsPKv8ZeN6KHEKGM+Nw/FTmztny4KTuZ4Iy21yTL8UN602Juh/qCn+Vwhob+Q/HAqZhMpbTqn3dhRI+xVTmKYIvByJnlk3CeVkB/ARbGgnBjPsbPEI/3xjjpM/v2qmVJKqQYC2MSPbrF4GZo5SZdo1fjFvRDkMxwzGU6HmIHCfVV1ITC/f9DWhsfae4CE3Mddsp0UahUwX4hrVHZSysWaa86UG4C8gOcg+GZovJf1jcxzKlqnSZY4ODLTEAv/p0CGCGpOl7beNrinpWhNfbi5cExdpsT8V7X7wpOo35E+s1IyHZdVoqayJJ4ggMbumzK6iJSkHOT37zUv2uvXQ6HdWSnicvT4Bk5+ggT1CLVMspq0xEwrw/sEwGMCI65S14XGB+SFK/WU3DlCbppy9cKOfG07W7Q/wq8oZMY17fSRIxzSvYo5GJsqhF3Gs1CcrOAaU8lysxOsBArBIHnvgN3JpoLONIhVxSYPsx0SW/fUgl7vwcUw5zEtO+ptW78ApQ/WLSmsNoyVdrcn8EjRby2qXUCnWP+Ig4WpnC2MfYPBWZeU8rxpkAbl8nVaozTU8rhYP+MFjTdf7vQn+853VdhEkORQICSQSrEtbpVPofYpgkakZJrv1alsjiMCJ1SDm8vySw97sNT1EEiXPLvGg0qQHzqeCcHyn5BkSHUS3oMaAEGp1SwnFfKQllMM7snkaOdirtHgg5H8XyYjnc/dCDNucv7Np1gUkpv/kEvQpokHAunmbbhU4FfsLUrvj/1u4MA6hM+5FAulf92gQBkqvfQFw3ToMKeYICsg9qooBygByA6RItoB4nOIsvvyv1vkHxBJ0XGMhacIFuz5WZuue8uPiqyqIXRYUx3bY8H5f9prQjaoToLpJqXxhXQM+U09wOIS/605RK9t3nL9OteweGIg89mAmEvIGJLXqrag3TUC4X4SuLr97E/2hTjmYE6E1o6oZK6ryDToqPGzugIk8Z+LO/EEhOGqT3aRT2EdL40JNEzVVwv8dYEvyANiuDASwEF+IzFuPJkvAFv5YBxysJiusfhesEsdCpHALb4agmv7e4q7KTFvKzLHDicy1DelzCjOWQ5pgmzBACqYMLuC7+KXAmqUfOU/F2iS4Q/ZY8yEPZHsG09tdLDixjMiFSTp2kY8pvbe3AMgATd8oSYT4NjMdq8rOS+eEMy7/mflw7flzsstXtXcHpTyCW9wILf2mows5qPlWSW2ImZiAb3C24ZXhvkjCBa/+UD4on5rE9xhLlk7ot9D1ywSOd4GieCz4escOgww0eUWOVVZEC9UDjPXsOZDvkA4HHvbnghNy4HGezANvYQ7Ymj/pAaXLhNjN0Y5TQm24iwvkTbgMBdu3bDm9odlgruOqfQgudhtjCZDm01BiqvIwaJawkViVTN+bHi+A6+PFy7jhlHrk01pvQ7KFvDVPXhtODxoz8K2I1smpOfB+xSYJJzcu3vgZIGa8VjZWAkDKbHTQ4dd1Kr6H1q68iZ8w8rAfy/GJTHJKGSAEYh+2qkYiUUt5e/rTuCYQXuwqXc0swPRwuQovS8Ll/Dvq2GHwiD+9aP9wFbaz5rlStuSiQGNizJ1+CsmTvQUXMpNJFywN6qBgRwwkzK+D6+DTiFY6P388E4s2RPwFs8oVZWynW2VqYK9vlWfEXItjJoAkt55Ar9pXNO4nNxeCAgVz2nQns449KndhygA4l/kkE6vgyZb+nkjQp0vsUt1ziWeBU6qe4iA338hHnClLmqQRscg8eZr2kmKo2yTbJFpD/EPL76dYxNWmSWo3L9WZztQternxJCHMIx2XEiwQ3MKh9didok3C7JqI9iJJfPD6cJ1HcJ0kyLQOku6LJQPI0xkqQ/wce9wnf6jTBAjvBWmdoeq6wjihO/kDtBgYrFTMco5OmBJ9+5AKAWwgC1xAE/d6BcvMh9G4v5nhPLOHkudYWA8GE2z4sajENsoWy8yakvlAp8MqLbCu0s84+VbFhbWH+37fkpSN8mo5RWuLgNOwwD1leFR2+we6NoFcMGoV2SH0MuKg6yi/CDtSwJ1XsXM42XAiMcnDdq4jx2XvsY0c6Jk9H2fMZ/9ihrJRK+VIfKeXImR6+usZwx1ppuHKqxmWwD5MATDyEzu9jSxjmR/08RaNVPHN7ULryPdxWBz1JYDOYGA+RHrNe47P4eJDW53Ol/nx81+Z+y6rDhghKGt11oxBdyn181KIwEUCnBZXw0BA/48vacXhU2saSjSHgDHeZR7uogJPPiNXPuOSGICMw7U1WOL/0A3rlxlT4TklX15d4fqiJkCo/upNcFpJ9CPcrvgAz7/u4Amxe8fKEW/CttG8jSNrq3TtH6S84GlX1TSG1oqPabg8GSv4jbw48Slvckmr/q5PrA/rh6/ISTvGKYBKujPpr/6rHcrJf1EiU/0sS3e+9+y/HRRnT00nUKn10am4upcwnXhoxT8QpeCpS7AfFjH7zDrBlKG1g6OQ2zvEZdKSDqK1UrKeEkYHNWA8gtH7IluRAZ9NJeCYcEt0FHfyudLk4fI/PMkDbaUg40DSwEr9f2mMpChUm/PIq+HY1NEa1YKa6VSUxDtPxhiQZIydwlvyZxaBUmQ/jTijibr8kquP5EtQAvFTXyYJZRk8afQu8ghweG0UR7YDIPeXHO66on3YTFTM5u8a6IbNDJIgX94LvU1wev1/s4VHaKbJWRhYTLXr7lbAlc7DPk984VONuI3pcW49qmkLsJCQGmWcYUtvyP6g8TnOgjoBudAqTRQltEi70jwNH0pLbIBdTk8w+iuBqcdnjb1BohsexlXTImVsEYTTgBKLIxU0jPK74M0QM37OWrMvtaZ0Pf6C7wT+IoVW6KZPt4Z9d8gPVNelTR02KxdEG10IF2qH40ZHIU0L2K6d4DpdMUyBq+ganRDjM6Y9m/bXlyeXPWv+A8OSHd8Lpbfl7m252IKIL1XNMLZmiefOyZuY5IXYPBTFHhoUN8+5St2S5tFCKA83VOCkcMqYNuXWYD9ZVAjrYXYUqu94m9fjV+RWTN9lC0z7zIy3GIlnIYwAtgpij3owSLMP1DLqn1hKxHvcwVgxc2RsqSOJvJSO1OUeVPRNO1aSLRba2cIAVtOmHb14rx8zTx41gm2wuM46uT8BcpuXYGo5FZxRrBkGxpP8bDWLfPbi74N+hl9PTKBzg+rLLaFhJGFWL3qFFBDtY3rumYK+d5E4ZJ0xY2YTlSxhExa8IVeMQgbmaJaS3xxpBCE2BUU95BkX1sJs+zYjaoHMBJ71F1M2gqWDR+X+TCNOLJimbdqUwTl+ID+bD4yone2/9FqdFmT0+S97h5JvhwBvtKiJZtnedoQ5NHaCcj/v3aHp5JnlTJfsT0kccSbwRr3+69+pMAVor9BZRuzaTYV/6vG0qxmfezKDRNktphMiTKYC0nSubVE1ygqyppZGrvSp8dTkLbvFE4ydrlRp8auXjcmC5sFcnGJsyQAbYqKN0kEM2WSIp4ZoGOznEHM8bEINT1hMGimd2rHsurLYjMkNUZWnWH0i1Wjt6yEdhHJzCuVBEdid5gOTiRmtvxY26tl9EZFNhNufeWdpAq1Zr2p1mt6P33b2Ca2fd5Vkd1C61gDB7TCFvtKI5H/2PddLONPCSxvJbBP1vS2XsuVMo/5jgSLHecesmfp7UJhAU/2btC6PlZVs7YVlK5qj/1hT8DTYUC55MzWsagu+0QpzMMzRkTT81g3jeNNUeDOUGcnJXRNvoJipvaWGxPpbDE9cVWahkoJ2Wo32KPQnTZ7bsToVveYbdkKogJpiivIrwcainiU3fLIycl9pB1FVGJprwW5laD+koTCPymmCOfprsF5XaXiS2WGOGzLbhcTmp8h6Eu82LkEPCCpFprq+7d0pzwa1VmXvKl1k1h5fP9rCn1I4MEacnkd/IDk6o8iFcWJAT26JkE8kbl98gUvvj+zQS3dWY2A+plYmpCDulhQjIlSDSgKmzSXNLqi9lID4WQ+BB4PeEDi8gXdVPHuXOyhRUUkXQzPDengCW7pceGhrijpuk/9KuFVCULPaGJaayRRsGjOEYohFa9vGAw6l05SXhViNvGnHLNiJlqCAfP/KRDlighYiHvAD6oIrFUTRPTjIhILIfCdqtYFqMKS6Px8aS4NAhszVAl0yG8hxgzI7qxlIqKzxrDKX+zQ7tfQf/mXnGEi9m+0awe/ZAcDklOSXFQDN4v3IgXUCGXm4mZpzWRZjjuglcitM8cjzsm6oSD8B8qxAvd3jSSqU7RwWSa3WZcoUZtI4Sgmm7IQvxPap4dJ4DLeiqjDqpAzJMvnIXo+vIc076376wN1vIwljW8yoMnu3uBcoz3G+o3huu+AF60URFpH/vEnJpcF8E8jqLuFRlzu4/77QLomk7GHtv3V6bMeAjc+ublKiAdy5ulB3SpiJz0a9Iwpu+f8V/47eu9kLU2RwU22eHQO+1HJkMX7csWxBBmz9SC3RAYVc9LT2mJuQbLgH5NPEAEANaL+yK4IEbtyjQnL5rZf2OcPITjQQOYSJR1k68ccKNbUsHx6hjWyu7/lZpzKMMw8xkafcWnh+XRlYHeZBRKj4lQT0swtH0Rjc+iV88/oNf32blglAYs878t1cQnTqR2+f9D64PHVwQN5mgt6wPvggBgaj7pt6VGsVMb97BDh1FqhCGs+CGZvjcxGkR1yXsdDtRmy5LtFZNP+WJkMJPvgny+6H4SRAuwwmwun4wglNtNeAbRvZtGds2QOVXsfrUbbakp8sB5MPSb0prRMS6iUCGTH5E3z6Az1bTqNGZxWXoSmWiLv68zCmkzl8XkvGGfttcec0IAKaWS0qmBtBovsoiwYt64Oehq8bJqHs7c38dXu7VjBjOgq348nhlgrdH95xYglwOAhz1IE901+wh/o4m13s0GxDlb8jSziKkHHepOuzYaS7zYg+Dl2wn10hSX1jyP9GT4XaPM+V6dedXe4N1dESOffZcUwLZ5pxw+1DzbxY0MwPf3MPvBAa4CemrAW2HluXXCmwWau8vccJ/rsqdVD0rnzkmueLCObxrucZeEdxrZTdELpdXUYuqAolXyaQmO2axBkuWK0cPZbHc4Yz+fClFBRvHcOnNzuL9sjTDtNbBe0wvIkhUmKzC/NrjvujttzxSQMQRj1X9m8N/N3esluh/ing/GXX7uXvXbNTVV/uDw40IFxnIHD/cUiqhqUA20VKhexb3Oh7J5zflWlb0qCEpfu/NaLALXAIlxQkcH/+shXBcuUzHhgMF+AmMGxjLSuHI/rMorMRqAWVHOkpXSX2okvPlpEcvVhwiWx0ypgl3csurg4PYCQk/6NE6iG1yPjA5IQlJ9mI5x+58e6J+22BRnDd+VRFUDLFaSYwnCE+fO+hpNBhbD1EjFEqA9HF/4Q3frzdrjjz+XePM65WNSXPPNGZ8SbBvRkPN6dTfngGeK0e1XhMBVeY111a0bz5HKhb8uI8iLjuz60EOMCadKJeI3RftPJuFX9cTC7TzmouFYr/ZwCiNNA2e24kB7GXbtid+h49I2VXnvtJLycCANnBEIO/+QNmV4DshhiK0AeG8whvaToai3gG10aIZigDixxwhiYfOU1IdQmhgXTvvx9cu+yNCXJptIynbxqSnpvfkZtBTsUVj128oCMlabY2lc4EMHYfb75pU2CBQk32hjNZqw7mKF/69DA/L+wIiNqtZyX4LwkmWjdIHnQaYhOvFagKv+KH2Y+0r2Yrg5lOuI5eGhVVdCHqfV9gE6Y5opGnLbidvDsAQAYHsKn9TGEs+zf7xCzsCMp+NyJPg/gaq96yNAeh5eMZY/gDuJRcj3O8Ri2f1wtroEu65lvZ+ehS/a7z6fW6g4l/e0dgH4BecZ8S8UW50Y4Etc6qREaXrGlXBJ9k1kBf9w3A9Vvlo2Ept20cBoVOwpfC8ZfyPqvpPsCcKzfnWcrUA+AIgkVFWvt441hk3bnl0HVK7ebwBaiqRMcdR5uk6f4B7GViXFaY53u4+uuOkAefy4+ULonHg9c0FrEy5bvpfH2qyIera57mWclbfB0O6psXga9EERsl69HdlhzNY0BSdODHm4DZiyaIpaZzglEPpafLv3fSMohWgIpsCSi2GxZ3IVfrPcMdbcJvSO9yB9q3Tp6cgB8ovL4hppFfToVGTmEhHH+rEl3y4u9etOQSHxSYtw5f976Pnon2ylAUBPFftrB49O5YQfG5N1F/eVRvs931zPxV4LKgvKtbkoIGf5pVgsrrNtRhWu4yrOA6VNd+58T9EoA/HPQVWdPK+M5WVhqY0zTNQXadnfouzJy+SBntVMsALv3GB7Ibauy1kw62p3WGrP1vdOlszzZURbAchR9WFkBrWtK8de8vhrpfV2cS00A/011Cq3HEdYWMtvvSn7dE3W3RAoCBmVauhUS6R44aYy9oUaG45KQoIxHXga1jb+YWyfBQ7o0j8uIBLmE7oIzNjb/byQnt76AONoOR/ffOSa27JRwNiA321JNex/0NlgtH24hGAGj/WkOWgOmT4/vA/N826UViOH2d8u3ENLvHDeSyCEAB8U5iyXDjIm7koC8llWzxg/+w8DhCm4JS99rS7/vJtFHylZOxfy3qHSu4HzVPLPVW2ZyAcpkX3in3KZGm+6kh1EplRYn4dVFNAMLIo19cZX4TCTOs4ggps47SDc8z+TvorQLmeDpBxQEvjriWlQqowGDC/kfOd8otSf2N41BZZT0TQPa09BErIiCJ1Wi+LLD1sQp74SsEpYr9EKZKySIPSKxsp7lOZH6JUk0YPNex68WROV4ZRYcMcNSyraNx7d3NdwC0gjMd062ENEEirbfoCWnjX9LrnRA1oZf8n3cRzEJw3fw4JiNZlozGA1/KLz9E+vNMJsXypK6+XJdSv4p2ARYi33ptcjFkFPa5d+mt+vBRZ/fY6CxTl3+XnRxEFqj5mNlN6ZkDIquM3mwcsERSQW3mmDRrbN5PT8MAnka4BAJBSVt+C04umJNouLmdm+ftyaSWz0AXf/0m/BDn0gLKLWDmdaLmXYySLypZ7XO3RvNYI1cgjGYWCpHKcXCkRjFw3wzfuJtZ7rF1PTyRwd5xvf6EvtBdyNYxot9y/BYIB5LGTn6EpcPAIG+YmhS1grFWKulb6kFca8uXNIiNXt1/XI8l5XyYMkyew9rrm67MFo7Qc5+b7q4b1PWLaI8m1KBY2TO3UkRRfz2lAeaSnQTjmmnpGN8kMJfb03+F/JdV4xhG0l8C7C9Abjxtgd0HLNc0iDZt6rgN0A7RyEs3okzZN0qU88wQ33+rqXfQmvCSWEw01oGqbGoHg/BKXg+5TtEeC9mnZXnEg3CilPXDWTHMGCZo2j7y1lA70RDpayIpTsc29sEIcl8DOJSHbS9hZoaPONFS1CWmkgsvNpKHaO83zbXCey9mrypRD7PnN3ScI3dmMsNqNGGM2DEcxLuqmLiP8ffraTWQo5RulnESP4Dqa7r78oXuLsPqM/4mg0Tox8NuN0YwtpG6BkcaIP8FAkCXVw85yrxHBL0bv7EonfJMnS3yF1UNnoyEbVQC1wI0Q7V69trfKsgM6LIytN2kcbm2EugXK0xlAmU2X1HojEfjHSNFS0b4o1P/vNDmy8LkHhHnYfQomajZrAi4cp2MDsM8KbEMVdta1sFjCfa6HDXP17Fc2BbLZXXwKZNSIxvJBkqkQwSNaw/+oisAjKEeuFDQgg2gQhsVyM8t7PvslzUQmQmyVQym/89xR41lSLb7aVIUXJYWtPcGtXGEeJbevFvJaePgQYIjZKLONBX6d5IEa04oEV8T105CEBpGXqz/iZQLExM7IxMWwya2FT2Zh4TNhG21A531nQkQhb/sFgmIP7fXjsHd9csJ8i/70Nttf3Os2Gn3cBmVpSNruKUYfczVdT58SoNw70KUraxjHVfy8ZagZ5RPCmO1Q/o0bAr2CCFwGHbMOCykt5+q+GNM/+N4elLERqnYN3+3mTRJ4TjhXB59DVBwUxfgKaXAyOgPfwfZBsgwv0Qx3ZhXVYMyMV2nRDp8k6Ovrr2i8CpLJPQsDtUci+ujqpxs5g2JAlHL5uyI0iLGBHiPde097FKQpoBINK1Jcc63Ht7XnqvKcJgLcdIRwtD5MU1BLWtSQd+DwSCQqlFqZzsKRdxRpicitCokFHhoeDAZnJX5V0PlQ9kzP59ZdDR7YbhLZJ4aWx3T/eo+KS8IdHrx558wW5FDhPprdkvRcgdLXEWsVQEu6R3bSdJDuzMCNYWYthcrQ+YWOXYTVzSJ/t5gycvTj8kfI/VTJwV2v+OqNNJKTduBtF0yyY/Zhzevg362WTRilwsAIYM3QhM6nNe0eIjphgEN6g3Xs+rSk47YMZwOwYJZoYxNHi9S9vF7e7sL55BHOme8cRL+bpV11grt0IDBK4nOAC5IFfuiXeJYc2CZf8iZrHmR5BWtsNTlly5rw01Wv1YCTMHK2kgdRibgic5yMJ1AxzboEyrMXmoDW7ThmiXWQWqt6MvjovC8v4vOPKNj2qauz9u8vcyAr4q9XnG+4JeU7Ox9Z9hYsU0OBizrRby5Tu2TejXEpdPJFknSlXHu3jDeGHeGRt3hfgxIRHt362+qQajqFScbWrK5udu2op3z/MDq2xY9V29HWBBkPdmn2GczPAiIAJubOu6dWQHsBr8/3UvnkfhBsqlF3xHTPUTH2nn6HehU4573TDdsxDEs2T8GjO4MuEymZNQTdkv5gPjq6IfyqFcAbuqusLPuX16clce5WoHV4qAV6tFkhbk/OYjdJQ76D9a7g9PjzBhSp6X74Gi8OE6NdWoNXPEqkO5vImMKFMmVd5XeDhHod8EBFRYu11A6jfDE0mzwuElHKIW/Ri+5qfSxLLmMSp2K/dCkdKTJQMRezlLlLiXHzpF0dgzxUO+Va3Is82DzBs/UvK8dOfMw4mSEU8IawVTc7dcQmla7phpYJ06k2corcdFbr7wh20ifSljoF9D/gylTzIAc894srAg1dp8pVDQmZqUnPjSm2LV4pEz9rRnM45MWtMtkL2idGAEwDfvTke0stHzolnEK7vKe6alrLiN9gNnY9vqPVVygt4bOPAdz73JacIICRoDqi3RbLdaEs/H97mpiczzc6trF5+/R6TnOnR/2g2NymVGcAna9PuuyJV8s1Ug+KYGQsLfhnM1vWaxzOSD28JliGN2S5jLHuqsJRrEc/8P2Cr5u8Bknalg2RZv4MI0gZ8UQBNy8DmfQQ1+VgYwLCVU2OPYc2yjvF0gNBbNN//dMmN6lHCTQPVjaAIB8BjeWHgRAn2nVM5k1bXudy/8jMa1uca3zD6i8G5Sorrx18p2mr1oQ+S0ap7YrYGLdFisDn99v4WPkaFaDdHHes6SLWYka0tS80G2dEgV40ZUZ662WJUUrRwR2m4C6wjHJrfH6LGgNZy2OWGM0G3DbPMi89uM9GsKCGHaO7XP9l6kJ6rr34WVAPyiIeevclNUzb6B5FsFgU75XVNaMCwxi+Dk2FFsF7hSSWoovHjxmbu3dFx8J75aABK83my9H0vyyC47IiANoF+D859sKKlbx/EZb3LcyvOp3jO1digAzG3UnAabGNXnu3/lkJNeI3E0eAmRU8gy9I8un4V+RWMYz008/Orj8elb/t5znBwL1kSqTjaDRwq3gs1SAbAADvoTuOhaCQdYp/1gAvXDtFQVn+BSLgz43rT28A6KB408GTiw5aeO1t57FSCS5iLob/cQAZTjexnY0s72Qvn0iq13O1t6OH/RuS291Ml7/MqiySqZ+DT8dgZfRqPTLBzIfnQ09ZbNsndJcURySvV6iZ+VQX9jy5PEtMwNxx7exRHcveQ/TxSIemRkbhGmPrzwtO2DRJzSQWpmmf80Yd8n/VXNnjqUzJkskSyJsKpNiAf/9LEf/6NSbrac54vW6FYLd/jhtsNA6PG+TkdOneaPVH303Ps83VyDPigVzqLW31ylFlqRqUy9RkSDf3kxs48O9cKtv8mQBq/tmPBEF6ONw614sPbyqU90+lrcf5mX7N567U7hJBwgrAAMD4i61olJ0puySW30lhY9PQiLO6zVGaHStFpJin08ODHYmx99UC65OFmgBMUhCPZo2TBaW8/hNrKmqAC7zHGYaIU9s1tQPvzinH+iPlqWxcfR3OzALkrEm2Z1pdA4Gzm2eqgoQsRqke+fiaC1J3dRcHrva4VILibZkHHzUG44r6IAK9Bt8rGmG7pl9xBttOpeR1O8PwfpC8QREZovBctGiOceGWlX7nW9KgQuzNmjZDpqIDhOXvQcHGdsy+1I4GkhboQKf+an2Snx8bX588nl/zgfPYL4zUI7TC+5MIulnnN45EkDhQPTYPzKBRcjfBohFV8CnAxieOhLHxJRa/67faY3dhvur/z5PQvl1FKSwF5Xy3ezEBaZVoLZke8Hv8qBXnBf2nENP6TVqtYUjjVN2svoIJCyroHm4W4zygLJUCqgfTQ1ETDD7Z/InQJb2e5Eqk/HmpPUZU8sfS5CjhCqrTQJjpOIll0CW0bAP+G75hRmd9SJVQjNWvL+VpoprusXjWcpXLtVWoFPurs8s73OONMAqPFzmbgVn2HfIdqmZ4lJ/CXYeE17Qsg+2N1OO8auwhFIT/nUqoMlD1bOD4dwcd0mEVTrJWAkKYzl5CkqfXXssJ67H9bKWmCLTS7EG4ev62GDP1eqfYK/Q9tPlAQhmhoW+39enA+M7rQmE9SEgLdUwyWFwwfZwea7su3QzIQgtyo4oJ4RDFanrEUvqZriIWqcMygad9qOOxwKF4DJcDe1IYCjTy9PbgdVhs7zFhUYD5pmM+g8XjNLUdoenfjiTj1gbXIsSgxAyjCjkasHmgfv1xJ2XQ9fl4wt5Em4ENtdZJefbrdvYUDoD1OOebG1oevVTecTP02GjX7qNFFp3In0IMGnQV4uouK8YYZzEOVABezfj8U4N7zUzjYZx3J5nVHcqOb30OspmcH1L2jyyXIViYNIaPBZayePYo2NudEuGuvMnjYJpupm00+3tVIiQHA8He1ejn6QcE+Uhfq8j5WDMIx1LS19c92lJS2FN4s7ISkuoIP3e2zzsOxABvrU8texo7UMQtyThrfFawp9Vh4DATI8FcRShf13UNwgIDjv4xWMTnCilJAJ/9RxzKBnzm75qwfC23ArqXNsGq7ZQV6qXrqM6KfLubpy6D2kOKi3hiiiRXEEvaSi8gjByU/9rFRCulA825RDKcVBTOtrVMTB16WATQVn+rnhXhlpYpIwjZGvIgE8W4rDXe4fugTy+AilrEFSijW/e8lsuSiAcykypfyr1AAwJu8xpZ2Ml5VuMq7APmHpjN1L5l6D6CxZQBN4pVdlZ0UlmZhGGZDFC3hl1lkevU2NnGiV6M48BNSbtMnPxte2Bw/d76Qk0d4SmURxphf4LrQIiqgsydTOqE3JZjCfP893lbYGRfOt+PTQX3buZhwHH/JZaTlc+B8Z2NPJT6X4Zt161XoRqzZSxX+0huHDf9Ehs4ng8pMlRqn/qeAZxSwx1QWcINImtdsIEJ4G084aJYwpSFytzW6TbKD94W9qG6W22C+hsZH7YsQWZuJjqfQ08whvfuiD/DeTUX6BpiBSLWH1jv2KfhNJ6dsc2ZwSaGyljW2m201k3nx9wfL9uf0jwTqXcnSI8dFrCSVYhDlOeMBKi81S3Hkx3Iqi+QE+3ei+Kwk8gNabNbN6eqNoUpZ8BJi8niF83ejnXy1a9oMBUJ0HUE8OTlb3kRdI/czSjWfdsnZg/hXWVCuPDwjhate8HA+OhxmTb1Mdh8SFBl4q9ZrWVc8f7/DdYfaYM1yc8/ZJ5ztN5m5aMv2Uq3bqi2lVlxIWSk8f0CIn4cRdNe4vfsefAHRN3ihN3CkDSH0gI8mr1+HiHzFXRK2HrnXfRT3YNeJA+T5gHv24wVvsniKzSwVXwRiCLX3drJoltlbp0YfzUDxihjowKu1kb3dsjLS2QVCkDKcg2bWR3fyPONdbFY4HLrQaZ45r7aoxHTg3VOx1LGDRMlglMWOBfPZ6PqBP6bDepsOb/84pmvxzBLPUbwJC6KHm+ClJmgvp2t8hXXmBi7bgr6EuNxupYr77hJYLpEWHQVfnPbG92fFR78aRKprvR+0FWf+ufsd1smX8Sf1Sm2f7B7WwvzpKkiEumg9ImbNxJ5LpgxNFx6uKgFMU13Z1TZ2fYT133lycJrknr5HV672MaeBCGgezxCAxWdCRqIGufB/l+lW3ndgrJcfTHLY5Ygi2/auumku19j50M03K/oP10mywBmQh09OnOtG+c5UWDpuQVsJi3ANBunjDFEwdy/qW9u+BKw+jMy2mw98ng8YjPMWbnec/thHu3GOBo1gsa4wup3QZUCAE/j06MJKB1sZ7eGjaFtUXoyAumEFfikRhAQfUv3hNt9g8FkSnFssCYzVUXMbnmJ3KzsmJ6Rg0fYgd0plQnz89RYpzR71d56dVigx1cZ/vslgI1j13FUId8i2k+sbgBF1+z/7tW3GCA+idnpC+k0yyLIcahbsw3edBlbCJHSDf+Uz52f0TJT1nL5B0Op0fumROKrHIwHV/DCk2cRVbu/kQVjE7f/rTgA/3C2B/hdFCQjNL46E0g2thAgUvNh1npFzr24ftRN4tFJT30/k9Rp3OlrHZkL08UYCw/UDXMiEdg2Lv0ocWIyqipFfQ3GIE6MNHEilz0qZLMOVKE3Swb+jlUc5fEpwb3gR9AO+Y33AOc360rLW8hJoqafG47FW4ci9d8v0Uo0sfdNGZ+n6rDShaEpqUZcMs3hh7R4U9m2L7xhB2uodSPXrWDPcSmej1SvAqf4E3HePtE36e9TW3t8D8u3r9GT4Mk56gBNU0Un/8JUcyojCfr0IReHLtgB3JHG2CgdCSMUN6WIwJvZYl72Tg92E1GHoI1+3+ny2TKYETcJGOypS6Kwg9j+NUYEbqcrnaJ/yl5hsSoaQzgEGO89DiWnPhsTcgvTgkmd3pME7gFa+psXFQS1SlCtD6kVv7EB0fBxr8q1Ouum3uZ8jvQiqupXnmzKtke9lXWA73lZLGLyqCMEIAhgdsnIY3RCf0ZoWHiiyrskUgIUx2cpng4spQgR7+jhkK2ZVV+XKj6dViQqwpGmMShTERn5sgW0Pyvdm3sju8/yeg1YC0ecKMECXjizBz28UzdaNGetHJlsNAfFafec67ZYhO1nh98OmjtBSUD4/fMuprACFnw0VxZkKlvXwHwz4U6rHxJmV5a6+/8pb4RxYE323qfJMk4D6gTsKXBeYebKMFtl2Hl00lmo2r5bxUO7N3R2E3HllBW53lT5AkTamuadBuE/Z4pGJ9le8CG3KTrbnMs7fbqlNbrymkHsbTPws2Xnh36xVrkObVEtjKbuh7pA6P4JINaSQVQKQHRz+3icZM3VBt68toh3Adl/BfqA2RN/JzhA9in+nwWpMDnDhNmZj9ywHLtMRYxax901l4lxTTfgFXA4vwqNNjpzTV3vSF8Scmf7BzKkjZR3WJBFkoPxGENzi1Cy4C7z9KDPiCyWr8SzZAPJqZRoOuw4N/PcQ/ZMvHK15E6bdFroWlEq0Uw2azw3r1z/za0QvJXMAP56jxMAZflBt+D85ORY0a2+XuAgTCfwQd4Dqh4Xa4q5uUD/xxlI4JifYJclvWNM7/Ht8qcHGPs+Wq5gzwiqEbn2+sVmKpUC63MdhZZqZc28/1xA8y4hfYoQOum9Vinm5uiA+ejLXBmbrrUF52mHPVsI+oA0W9zeCYC9i02vpo77nLXhdFKEGaI0Kjcy34bFHvVEZYCi84nk1JnYABEabEBZ8LWRWVWt/f9S60WCnXvKzYTemmBZ9AQDBCCQnuu4chqXl+dc08XX5B43+WCErO40x5ujo9+r3NEKPV0PNBZR061tMyTMZ33ufTCNjszHBnBOI+giCOuK0oE8opoOLuyNCOemO5tvcfyrmFBRSeAE8Cwk3qmsubnRFDLFbtHvRPQ4p/ut5qIww9InR8910hsHoWR711Nz/gnJBJ5/NO1/DU4vpVUY9Phuk8AvAyub7NZmk3ze3mhWpxZGosKMkwTw3N+unlPuneL4d3ImqKsLDtHwdunLXHzCj8Vp/eqzji2OSyTUL6q+6mTJwLUxWJGb7lLEzgxeDQK19w5+lkeo0vtA07AT8yfVRM0/iTRgWMaOIE6gFTzre6zBn9hZC3t2BsOJFLwI69v3jtBQXCM8ha7GQLM8KiiUqBgUQP2AlGjPIqIFtU+TOdaSZZGsRl9dDtRDm0XXkqbqeLFHJxCcxeEM/tNezsu6B5qYGMt9JMWGUNnmaiNVOPG8ae5xRMzDLzb+pAjycnm6oyteY3nPmOeXjy+6afiez8fFW1j0PegQhJZnQE8zgk8dMHNmAayBfxSI4tTHFDUeRzw2vk8bSJnq1btLrv8rO7+VJbliR7xjb53c32KGCjPou2ywJh8JV8JF8Eem3oQyHm30mifICeKObaJedV4bQj6IV0tRzZbjAXKDxRo8N7rvvv2/4/lGwnQUHU4iYAgIUXyIif78ky48wu6uuCM+8SEYtH8BxjX70tGKAMQR+cVixpCNS4HfeCmnbqYs+BjIJjm1PXbeJV+D23LCeONmQgixD4UmPymBCI2PlstWkS+66T2Dfd3ma1NXqSmK4myTz6WLULWpUUSZlOR5Crv6N8PabUVgAdKxpWj5lqs5deugNkgugDKZ9UgjNNXoksOL+YCqfKcZn0/CNCG/oSXjim0VouK4+KC1gPkJcahauKAX67WALinc3Wr8/2ukFbtuwZc5PDY/kFPQKagkvU04T1C3qtRJZfPyjb30S0Gbb1UwOInJoz2RZXQMrJja9ZGepD0P9zXTwvX6GI72LZqm2tsjX7y8VMayOJ8YjIkpd5V1G2/Et5FjHaJ8Y0HMNL9KTx8YM67GeNKNsXmIwi/Kvam89pcELxg3srN5fqaC8YklLhIuMkfsOuBg6WWaf1xihf+CfwmJs0IhWqQ7zuyKiIi5JGb5gQxKd+Ii2zbkZzvd/raDgXwRN7AJWhPScT6NfCODbPGJ9pY8iThfzkhrLaXgDiJk2clRVlRrpGTn8tYCZ1h03NC8iXMLuvKO4Y45zHIT9c+YShIPM/R9ibg75WG0VVoVRs/4GhbDRNZLAmrVAgQFufPYj5pPYZqVl8rDiiTqsRh7aCorZr0KesIwEt86mZSMlv8hyhjFfs75PnWb7uVwkLYkrnt9UvN7MbJi0z2DtLUjODVt//hbPft8dcPFIVKpa60OGiJMnBeBBPhga1DKmTRazTKVzLXvIhMKjmFJopRwpLbggOtstzoLrPAKV3XDAUZuuCd0/ST4GlbdmQV7PjS5i6Ge75VBB4P+/Fd9VuVQLaEMOwRIPTXD2qJv8L/82Bq3iqu84OGmOo3YWX4SUSmvlmOwIQm9GV5Adr9IYHmbWx1mOYCdClDulStooKaUmDzuWQQVhVfhnP4u+VfMiPkl+IU90JiMPiUKGKoxE/+H6l3DGxtIy0SlDbpzo6Xc2DgF6mAtr44pPRrRoKlAnJNiyhDfM1+pvZ3K+cBiCfy3sC0GViq0MJZdxIDvzV+0sE/Q563ZC/YSXvVkZIxY499YIjinMDq1Ot56UtthWFOZfZOhSeuOvGVVRXDHBl53ejr2+xUcgyl6q1Zm+GIcM8FysRqVHlF6YofG8Rz46JS84tB73QxRCQczsHdqvGsNz4LjHGmhHjb/wB4kLsLBfs/wwmfZx9jLsBhcDPwZ3tnddT0n4Rx8HYpn0WUmDAIbQ8ErxLbD20/hGgDOZtgHhDPuCMr0uDezeY0bsAN1JQpWXb51yBKKVD/3sWTEhreQqS/YWV6IBQryEIUsCavOVtIAM19jz488FAIurPjnpuDhCfeuvpZZVLrp19puOnZl7Mp0oQYbN2LIxv7/VlvD+cq/gzP2qeD4rs10iwOV+GFoX6GZ9K/pd8IXUtyFhsqmvN23IrG/fUNgMuW/dj8L3G2OGs2DjUuNw6ENwC2nMEv8YH90O5AW0+jnNeqNCqsCH2xcCbO+REObV3hOkO6GEHiiQR/pp4Elc6xukQ+AGQ5jCfpxcbdW2DkCg7oTbvKY0txye8ofAngeYU9o3Kk4V38XEglciSkRhQ0b2AGe2js/BqUCzPgpHCRJ6Ff/TU0C5Z2Rlwgl4vodp5qgbkVYrzeoQJYt/z/tsbYBE+0+Uxi1ozL8lB2u8/ZQSnLQBXgllCRmTw93wK40XRMvgSl3wSrj6onOz5wuOpY+8i+FIVrxVjQFjJz9EMA33oO83++ZxEuKlZSxi1sg6T1D1cENW2AKwx+Fm0TM3e9LWag4P4bUEqTxQ6tszFK/vE+PVHOD6siFlhmwwlbm+VvVbyAO7v0Vw5THU8GJW2qUU0o+75eygnh4qM07jgxrglJPn63X/AD/fOWhatYST1IfK03UGnW4h7I/HNIU+H3cINJcqiJhgr7y55gSRsLCs0jcM+Pr4FnhlV8abd4/N5tVGcV0vRjmfYLu+PDNPPao8a+0BjWttL+DCvgV6NpA3y+/8IxL9At9IkIC/50qrSaqQE4dtPaznoqD2UjmcBn6c6vdxe6ZLsAoQNCJvxfXzK/3vOQQVaLBfpMHdNp+U6ywrCaOvZImFwRVwrKjMVQ1H/U+v4Dz40scOVwLfNW/vElVZHKGiXIYt2vmy9T9JsrQF7hThrEP7BH9n6mzmYKVDYhaw30goDI4nLpGB9cJSoJKHXltp9G2ubd8qklkKW7YFRp9/0qu/te5KEJjIa39fKwJnO2HpykaLi9KiqCU4vkLIPYBckf2CD4Tqcu6Tgfyj1v9MOpDT1RTCAVDN5CSxeNGOCQ2sShD89mcwO+DX5zo+Mtb0WwQExCRYd6RHFucjo+jc80sgvpUuYeYEjBF8ZW6Glu20h6g9L1QSz5Qm8h5elUDTBoKYBqZqYRgCnGLiQVGhJIo3QSd/ryEF28xuUsYBrp3iKs6gUBJMnf1rSqMTFMtGRpGJNBi3qZICgknqOe0aO98ZGDXfBwSdO0EJ5shmcLlMhL/U3b8tRj1iIqQmoRY76J2O6djvmQXCw6RTSWKXjATFxg+EkVpNex2dgk/nLsKydVN76FISFjvCzggCxttQGqSmqDnwYfwlgCL6KouA1CkdDtL5NHZil6GQdpGK+S5j+jtfG3i8RCKAzZ1VE7axrhQWE3By0a7qgn+8lFZphXP67ErMD7PfGLW5HZh7zh7MPF1llMfunGYizYo50abdN/2LqaHZJ8cbV9TpDeBusmEETexRFiVErhTHZpicpvLmlwhySPAmP4fqVmTmdaDt/K98HDIPbEKaNGoGGlKQMYpn2zNEvn0KYD9QVN6dn5tx90typ7DcqfBeiW4ZgnIjiDLRbU4YtZjc9GcQKlmqKG9kSYcmdyKVHrQ0+0FiNmxA+cCXDIqevU3kHXgBUPd54NN6Vz+j+27p+nYLozTlPott9uh36U57spgluEswC+G1BEiVTS9WAvVIzZBU2/HQCchXxJzbWqsXDkzZLj4xXUSjaNQ/gwHoWStyrqJPTkXliN4pQzSrnuNdFWC2bZT6VcZsJWJ+iZDa9Shg8rAqskb88+JyfCuaG4q+r3OFD8yvUGrNSVOizF/5bY/CGbUJf7Ute0WpnMXm7aQ2EV+PCrZTOzzVqFhZNFzzRHkgQa2LlqXWDjmvou9czRMMKxMC+HAmRM/y4wkvOK2Qk3v3TA6Q+EahSYgniAR/nNC+wdFjVGqTtxqmX8vnkEr0k3gnP329RiK+Lg1Ildi+535Fe5XCG07QDgPkTqFXH7g+oR6MIidUyxXEZLUqkj1LhJwyYetahEk1tsnGjyvhi8edOPBLUPFkkNoypUtMu05GJQTvHNH2nuyOqateVCObq6Uab1Q5klswzHIbFXmZVeIT4LRNlGW9Ehnj8G0DUBkJzGfdYTm00xd9BTIK0fFitCvw6iRjz6uQMmsOhBerU/TAzHfN3ExH7BfiJK+WqBuzIaQBgzV/tOZiZz9AKdQp6LH8/QPXAMdqYNoD/KF45P8Z7mvPPeHi2y9Fr3AzNuVOTCTsR1lpPWTp4tl4sUieidPhnxjI1WeTztNV/cNdhDmUEIVow9glPOZGQxYeqEXZey74C6pvzmW+JdYc/4lAxQXWVWr1+3dJtrtjQLP2ca4R3nsW9iA5oWGhD8RaJjaXtiQ3lHj7zIPcS/ULEBQAdoOzC51WA5Ew51x1mrNnoDJ0mp3AgetdwFEjG445uefh8rfYdqGre95NZfpUArV6g6HH4vNLyHa3zLcc4VqKUiNK40gMYDuym5YPDH0zP7jDKLqFpiVkaYzBl48GesKyZ3QqXcHtmDIir1s6MI9Ky0VqARlb8Hdoq+f3kPELk3u4/50x8iFgo/T0WyYcCzfyHMs90Ugj536ijfZdbGCJDA/fl44YOZzKSUm/9iKkeCblkotgkYB6c453daVgILW4DIm17C4lzYgY9b2NAv2XLShg6EZasSKjfYJ1zLn4CDxwFcKWW9iVfL71jo9hgQKbYoOyNybEsZ6qGtYSjV369YYh8/NyIHEKH2ZM+DA3XtDI1JeEM4TBn7R2z1+hwMF8dhJqWflOd5doFfpp4g6exBCElumhd9B9+fTz7zvUq5+iO5YkkKbAHA+2wE28lKPd9I2k5V2+VNpBvIXILqr7yTsDxUolLzJCeUo0CLjGsLhCEt8ufbyeuWFoHI8+S4zBxgTTOhyQ3bm17DC8/FHhXK07ov7cu8W8Wzoj8CdnYALrfvOvJQv0u/foav8kHjejgfU/iHjqCP4esr5xRIsDVYJBOpNWQLH5y66QoSCy+BSpLM4lkSSdh+Jx1qKCIHMdoRhjPL80tOJTGaJLQAa2FjUWWKDfo4T7eaQ92w4lEzdqUSA0E1r2fiS+W1L0EtPQm28AuPH4sKTyS/KZm1H82zy7YlpOSkcicwJHxPf538rWsILRcI/4qeAFrhJBlk+PgfdzxCAu8+ll2/TPCOLUdUdCUdzoeRSqxAYfVDoRQs2hy65j98afviTGSjW/nwZ2ue83iT5c2Eq3eALq7CqLofqutGOoYw++JH0npiureGv9+9UWf3ky6+WImw9Fs7MNhZwf43OzLdmIYdOpbo+LBhZ13Ig18keeHM89fj+ozXL6IcMznUYSzWHTv+1ny3BlqFvmzaCqLv5Qhkaf/FUJ+1t70CNOy1mYn4hTL6xKgezotdxeUcSb0Hmzs3uhBW3tJBa75gVHgW+h66WHEznoLvUtGGdqYrobybSvUEnf3wXlTJ7SSde9tgnfvoemmB0oySq8NZVIknzfxNnKw2D4fDWzFHNSVxeK7WU/HuOJrAjktVStukjn0qFNPm0WgD5woYQrZUsCHc8huWE6nvK1eDT3H/ToEW7X5H7yAGdK2Zevf0AL70lQ1gsV/4VrKBbnR4hpMs39FH0Y8QyGty/EYDwv+hEwwSrlsyrp01+QoKYzkg3IDnJqyoxiWhxSL9UXKXxa5gDccNtJKHqmMbto082xucRtNS+8077hsFyFDtu5tjtnr3jz7ei5i+IeCpRWNFFwBQqXB15o/FpleZhpAWCT8LdRt7N5uee3tE4hfoDB71SB+21rqajpHskkYYT+E23f2R35u+Tc1UAmv93NhnNgC0nOQjDC9K1us1syXAQ8CFwIYiZvMoqwV+csWA97R8JdpZTIgkS+DuAuuKEdnPC3Q4mX5pag/nKT2fkNg9wQhhnKsbpGtXrGtP/VnMbX1Pg0AxZ9Qj9Of/jVIgBYC3CM6j2GGTX2GbJ9Hy7hINg+IXWQXBTAGy3YC4dg/IIPJ7al43VLvb8HP1d+ZiCibOpwZLDkr8xOdjhCC/h9ERF6nKXlhisGEdjzCwYgkx7H2D+zKPZkPfD6plSVa14UQ3Lt8FFdz0IeFR5rpyVfxKAyz4lx4E/dibyrdUDkiXC5cNG+OVZhRgs5LHoN9AHxg6+IIgaHWwhCQSOYgJEq1lEc+aix2m1fVw0bWyCUAPxwc+2K3TIa3s/4+IYR9Ykm3mqCtKrpq3+mWqp5++JKI2ROq5DD3lUOX90pGVffEOFe9MPNT5XVpExchnnOS3Dvol017dlQHT3IonBwqOxIXyrRNqt1pB0WviFHjSN/iPp59AnSzFkPj6hXVIuc5k2PjuxN4ubMSauiJv2NFqZ1Ug6zOwiKrLRd1OkGhv0xNNbh+ZsasCKiV9+B2YVjGMTsQ7DtCSm8TDyQnINxCGnjGulSY97m14f1YWI5U2IcDxzC+c32tC88UNKZdpolWuwqlI4eIHFkJWnQUr+MUFXuVFgZ41F/v0hDo2/8YDgoV5KB3n8oeXenQTwj1sw968+PSFsnp4vU1tnRCtinIoE2g0vK34ETwSScNHETnhAK6f7W0HBG9unr16TPIUAdjLisvGNlIPq5MgUEjdoDFecSgrDiPt/BCANezKq4IBUIdlnc6Y27chbXLor7Wm46c812eYUPglpNaENKg+/OrYiHsoKWFbBZH7sJuzQb11dkOcqBIudppkf+gaMZx2/rN3DuAb2XfVMlmELiu2RSfkkHJokfrmBI6dvr7XwQ82rWVuEcDgF6qJKvnlxD0jJvoTMrMFD65LSco5q2USDj7U84DacbYyTZb/HTcfN90geKZISd81jJl5PMj0E0Kr+jbZB5C1yCPo8cni32XifdSdDghPwn1aMrji9wuOjdh4PTqVnwOX4Gu36B7PqRlQhP11IQPJIur6MTr+ceJSmXdsNXvONdFXO9oy58kxEtkVqWwmUlOL0ypEGPasXzTldnJRnL4OoqVjQ+m6XCb0wTvqdjmY0XAzbLxcFKxQzBe7ZG2G1BJQ2sew4bbe+doirmIrs8po6Jii9/Vml/7tFIGeoTkbAqonAv3UXpdtA8/dEL6l7lgg8ErKnyhMNL9VKwaIYDI5x/Qx62puKjRY/VS9TBuQmM5uP5LVQnp4QVx/SdPRESq3sKkD59/6F8Vl1tKdR4ohWOZafas5WIUiAOzQTQXdREij/6d0Dc4JjkmkwDp2gxoRONMuczfj1jmyMLv/3HJSIGwVXPl/5DDk2xQEygJlKAmud0uyHcEONoI7rgFsBI3QyWa9xEu31Ily5SX2+kxRrnrKq5co/iqwGa+lw47Evse8fU+oI7ElwSuonGi2yrDvoHc2k5ruok6x8ptT9Gai5UB8V7Cia5kDRH4Pm6DeYBf2D+Z17w/HIpKTtXNVXXnjzpbfoNdqfEBlYsYSHmqSi0o+H+aOqXqKo3j0EJYzByamRN7gV3WVzt8RivUka+wq2ZuzeXxwgFnlSotWjiHiUbShYZIX/MPG4LCNdZqyRT82WQzUWvCfPbBSGYNr/7AgHR4dYStEvxL7knUXxHRtW4BWndPFN+vwTelgruyN8bcDap7CP5VYgXTGvMH1ZIf01EQDiTDa0pOa/8EG/NN9K422dDLqIVLxh9IKjKzzQflVUTeppc+U6Kdnegc7m7ggHLycVQbiPkPaWm2Kvs/+Ruh4AeKKbHxzR5iwGYDteN5i2tbFka90wRP54WFlMBF63gbUvrmGaIkbBxKAOg+EdOeYkuFe8oNT4ZPiiosGSAOCZ7juOdtZMlKvYVYfA+Zvefn0u6cYzzoWZ+G70lL+5MvjEBLzCYrKee0VQOJsaEhEYF721yb7XU8ZDLOqU0OCbnVthMHwl6/RN99fBVoDDUHJZPAi3eAqKo3cYfx69n01z1XIEeEigY1lHXTw3hPHR1l60vzA0t2EXeGaBEeux65QObb3TUEke/aZovU/ZDGEak1OD2MyFOfjfLeKwcAhNZMmyh1SlsRC0d6aAWuoEGj6s+Q/4syBXb5PllCaVep7ZjFyn1+56TJK5te6P5AsrGnerS09zLQTW2c5FWISKhDL92QQ5IPJBLWBpWg9eCKVU1toT2FdlCiZETZ//PZ0ao6DTFS/7snv9qjc2Re8mva4x7SzwwgjFj2mPyIRTP+GFAYETs/mEagKcF/4vzDqHl1Lpq6mukbl/bVagv0Olx20G3F5F0ozIXALmxoUi3ZSfizYQsaPwKdAt4K87cWI7+fqRs9nzI+NYZSlGlhDVo/lGVCInpy05H0G7uX/yS2EmlOGROFjXk3Z0O72Cqk75P15O3QM8Hu39Wha7VzO2ddi5v+haF6U7d72G38Jcf4mz3aslc4KLWvt+/d/32sO01U0S38uIGGjCMefEAs+gwMNfonnUS9KqnTufW1wPOkXYQLig/fmGkb9fTMYmQaMOsYhlG+1ieMZhc/tknn0/+O7TmfpGsRHFEOgMB+J0Uh6THvn3rmvaJ5U9VPMnMeLI19toeITAsdY9qLrm0UNydCb9ZVOmvS9OksOJnanKTqVvsGy77RQKHZuk5SS9Ign8zQGWnW1OoEFTY8QXbp1A8YV391b/RZr3lhw96tXrTUe7mLJYZS5JDD4kTLb9NazvSMjOKCpt804r/p5jDLqcZkcoNL+G5nWGZRRj+YywjHRQ2WICTfFbsS27nr8i/nCo45LNi1T1Lc9sptJprWT4cxOm6TK6/1ArS5VinDC65tzVuyMMIozcI05MdxJxPq/52hIxAHSNgjRQW5Tb2wCDIAxfFVTiLKor1Lj1DN+CkLFsmauRqtCx1NABGWguBaPLEXzzW7Gxpvjt8s2S2cLlzl29a3LTn4lRyeq6z3ByTxG7HOMiU6da7xPX51FRdmqkap27O5DdrAtGFufiXGbZYnuRvn3TrwQ4peK/C4TUhMM1vl8mWNNM9qktc+EZgueKWyYIxB/uHNJHBM9Ud41SrFSoR0/wHJSx1ucX30PkbXRS+BtpI3xfYopHPM7k4Vqh58Dily6d+ibXiKiOrQngjlYziOXAHpu3kZPPz3C/+fu8kSanE0WRjFiqjAeXOBVESzuJoXuL3R/mqVyEhHJeGtVCrnE0JZ7lF42IJuQgE+Gzdbr7gjd7CHlcXJ33Hi7SvvQA6zRNcXlQUesHsXRf7Mh5z2XdOvyvi6lG9Nf2GYalgb8H5vL0Jd6DBPnpklLusNAF+Uk+WIaBpTBgQHc2osC7Hw5BJec/D5sg8vwivkpihUAh1wmXxabJmFT6Qqb1lXVS6swI0N1tIoRmI8Qqq65FoMrvoesBwRmZ4h1o6J+qmfzqRWQ2i39ebS1nrEpH/TOsjXqz6YpMYFBX5rCeIOvaalFfJ7phqT1lXR8hE3RxAu9baId4x8O0ugUmh0vm3jLJRMMcsG5FAR/CNxoNolqk/roPUHwsSE1s1Us1VtYr2/3AtzAUprjC43poEQucF6X4diRfUSi7R+QXA6/dy/kQEu8Ovd8TYtoE8ZqQwBtUgLK1PU9x2AeDkTOCO0Vg7vHeAK6jXmDFGf7ev/fOB+MRpgliwL+ZUwFKmhlwMAWraCb0/ILv/K6XtUeZch90XcVHu4cNHB7n3keAWFohJznVpIHJ9Sr6QDQcw3iIcbvlukgjgJGvjgFWFU8z5gdMwNZzDpH5IhqeXFGf3Bl/Ge/S1LmiLZOAi5wknxWxXlAJpqoqLfk581HynP1OXxm30t/WeVLfln5nEu/emT0ULVGBPSzy9nr8hqqcDhIHimgQO7yOcnaMf4JvxQcUgoC6pR/XwhxlPvQ1yUwOpDhDU62haFZYCKlcbwvbKXWpxAK0ExZWUaD/djGc7GCT1qBixllqjqwaoLp4UWfFXs3XvjvZ11D6lCYRdWSwON+B8yX65p6uT1qIDx/3wc4T529trbdoeICI/OhP4Vr43afUJp26MeLpOeGrOYwyJ3iAjAarOQApwieVFsBJwXIdcrflV5h7G+vV2QR18f14inSttOzbpQWMwKeeD+j192vtko2GJsxXpG/MvrN2CgRuzoYedoOYfeL2S4QNtFq/2GdTk0PRXHVnhIQ6GUzL/sylxy1b29H4L3ZG7gSe//QKMQ1Wyvnd02OhIUcL7Fyi5wA9O21UePgqEJX9WoI93YOtLhAeGXF2407NVuRAfFYccO426XqPu1GmD34WZXTWeDKXhc295Qgjg70Gnlqf2F51Gh/qd7Oyo2aZJB4ss6xFUGw7r2u76yl38puD8638RWE/rMvgYgP1dLLvzlcceciInoC0t10y+Rr5E5f6mE6+BiRYGX8itEo7cPVrvDU8v0e6jBZFrLVjBYXItqaYITDRdzWM5qr/OElGlM85JFv4UPABRUe3VhMqGfBgYecqK9SF3Qm8eubOGgKqmfs8gN+63zzQKr+p1XHlLLopi0JZ3G1TVAGziMlFzx2kuml67+hbzD7rDazLY9ZGKGvOCAdfhuXE953qaYLkLtd39meCVihG9xuTD9uuB1QOGFveXAkDzECjDoWS8k3p3LU2AMAKTv9L/PejyW2lit1nzLMiVHBEJCkGqoLajJUIGZbGPp2+pa2zjD1dWAib0gw8ynT8RAP8gxbeFeQmfYisw6fypBBnIczkZct4D/eKRp4azrCOUwdtslOzyoGTIKNveFNJb640k9ytujQ2B2fkk19CqAYj8UqA6xgrJ4LLP8c/QMMvUxPX/h3N4jvVHIfyfcRNEqFU33pj8WlgvfBPzTuJwPJJf7nfY/MXUmTpd1lrLVBkuTeI83k0g/Hn+cC7oEXoorlv7+WlXoKs+jIDlVpBykzaJB2R6Z8wOyDu2f4cOeZbXZw1k+IJZCwlkI3jBRMMaAe+SFDvhNa8LOE612I7tx1MbXbKJbzlXYERXsKIWGHp+VG5KyV1J8v2UOTaf78ZAg2Lwwerpq0K+DRD9CTkbeIYwfDWLDtx1qtaL3mQ9kqxGGuZaZgbX4zFW7jWycDK/olATGE1fvgbTPqjmpubcO/0ZTWngztzSvYuC9AhLskj376ApXy63laeT+qERDSKKjuPX39HH+X1tUpJ7yZeqXSBDT5zoR/AcpasC2JDryeUfltzyQxth5kvYFPtAzJMk4kG6eTxGwsDhzyum2yJeDV3OtM8MoDhrwNFQq5bO8efx8sEc1jrOM+gbqPWoQS/nkgnqbBf7Z+ljzAyXEn16i698px2GxlPhwl71UEAdB1qPoGWQOEwXe10mRRWpE/w50cwGnZnDNSrV6HokcI7IBBoEPyz6/f0opDVzMlt5j64e9ZFOPnQjv7GFhboBAzmY+RcfdxI7w/89aPa971P1HOdhwBp3imr9EDOhtPE0wsD+Y+Eou5BeQgWF6MK5Df3ivgP+cvfsqQAJBpXj5ZhrOAnTqmye89FKuByJE6s1b90uF+uDZnbsEddKcKO0CbPQdzOHSYhZxXBvCFTGs29FGjFbnPpAfhp2f/wQYb3u5LejTvRu6BZ9hlRDVXSglcIdJDuRJuWoj+tQ2+VpfXSFDTBGPKwwJyP7i4mMdXUYJ9A2nQjSSMUdd06UByNOiDTJJYSkvmKD3RQpLY8KGwsM13NlyOZJ6I/6Yi6SxwLL0sY6kWJTw55zYc8w/WT9v6rR809V366ttSmzfha6hdvG3QHphR/FtxS8ZDa26+X0ldP/gK+3qFgGoYGfvhiZF8XRPguCJE3i9BnbPG2OJgBQgFJEQK392jZpO+cXoqP7kYq5ds8RmiUtx7d6MDDGi686AeqfSAjZdOTnnvaQBsgOG5XQKyyJdQYPHjafNbO9l2XYd4U0X3jQYL2ME6eol5NQPGBwsbj8Cj+WrQoXNnYN3M1v9KtdKL76VicWD+LAEv1Yq7fPfLyDIRz7hxxv75HlhZN5z9cF3pihBwwCFs5ZQxkO13GRGdohIrDfBB8XIVRbRCou7RAontbcjWacawFauRDId5bNrgbJGOyxOcJECddXBBnAAb6kyc4w0Z0FyzxVkOrXK0+QB8AX/647FJoI5mGUbsH2QkJqpm3PqDx2MlLokIgx+TAkh4+Y1HlsnVtuuBqtqHJc5Bu7V2nOUF8D9GV0qZ4qjMzOjpBOSOQiyHB3et2+N1Gxyxtlw8IahQ/WlieDg1rzXavypf7LWwZ+TPVvm6FBx7t+t6U/3gD1NTu1nf7Dya80UPV7dJDvUOcH4083RL4ebGyEkd3f5Bswja9jUgCfpPFef/H64okYDMawWRga8lNO8c7e0iYAV2Iv8E6uCEJQr350GNFzvFnVJAg2r4Yc+LR7DDfq2+8ROpD7tx+vGhFC5kperzCI0jJPhk1k9T3Zwx8edlprM4WSlkMUHXXV6W7KOFdxffwVyKY3eDA6TtUmYCRB9ejp3H6z8rVCzhKY4tO5ra+tcebWia9DSPKaqCJdLC4Z5OHw5M6pru6j++g3FVivNSsSJyq/O0lzRF5KY/GMlmh4HOFMcHZP5XlmIK9ygnA/6aNQQCDZkRZxwnxIFnSbElvmP3E6YMECZTBDG9o5yC84YxiABCHyUuW3FC69Yr9fzwcEJ/ia8+p+z1NM7/wd4vDABMnKIhkZmiSPSAn/pGjYVqv6I3z8WnnyuWC3UJwykrBfyoF7IwUmFu9m+iYKK3DZ7IeML+qrNw16DA1hxieJQBGSInPgxIUoz6kZ8j1VG5qB9fa02G/HmQxtJ4aE8/I0USfMxSctrXfJoYKWs6vA+vtjC8I8pvHOb7ifAqlnHFnVFueSyyBfz/+EeEsLhBSh25GjJGnFofXL7LgDzUf8z7VmyWfkRvbf+O3/YXauhyoRcrCHGKZ4MwTdL0QCbdCfyOQGC1WEgGQo1WMXMKnm/WeTLk9jacTpI/4MuKcZw/TfX6RzqqDYUOctydeS8mQLO/hN3nb/80C/Hkinzj/P89hMWLjo7922J0lyVVjSiMmLJYVSVOdbiKSXZ2s2jWmxdKzhLAnuMGqWioIUeYLgYIajtmNXZVU0w/GF7ztwzxqU8isKCsvyxaUhGSqBlBUNJf4pOQAoNcTUAoBwI8KeKnAylbabUJTgYD1J5U31ycv7Cyfa0c88Q0rQyIZldSQrgpMQf7WVgVHFe/hHUaI/fCZ/sg/30xMPuKrIe4SGCBTMp0n+eioN+n8+hmrHyg49EFJbzKWTJRCjfEnpaJuirfvRm4C9wLtHx0RSrPD/YhxuOcArMSqvTS48kGfUAwWqGT9+L09CeIDERbgCrx4gzcx/HZpBCopT9jfJa3kY7W4noEhle8COdfdb+8vYtteDIqB/isJH2DSlycajqD312nCUr7pnpt7C7l2W+A2OaJh809wIh4DAYh5Vlv4byGDfrL4CVlxCS3DQUwX1sJvoOv027MjuOn2ZKATUbUy3pCMcD4NvgqdWxoZMsJriljqzTbbEphQpnegAfyoCgpJC+8ULr/wG5ar4uYZ7Zv7e/hVsmJNEvo778tfdjGmBGUSsRh4xd9053dLA3L7tQs7GKPMu0uOO2soLqfKuJZo9+cUIru0IRgq6gXoO6gaYjWJ89LIRwp+UbRGKFq9AMLjya6ZcRVN8uPkkBNky3E/B+zCf3YFX5uvR2EE+Aejf5ZQ0Zotu/0Hh7SZMRJzvFMVvdYc19cU6q601W5eg/Gi47EqlixF5eQEL5a4uX/xz/JWHM8RRGtwI348xnVSrn0BAVFxx1x4I+oULSAZC2mTSmmM9WJxVzXiapjKb3+kHU3/6VOS/8R6a1nlXWLhGlutktXqmk/zFpx5NWMu+e5LbOLdl7pfqW12FR8H8LcikQ0ArIL950f6Oq/zW4cX+Yh7Ty/flud90qUCIDoV/sJUWbuIaFNdfDcG41xyuUlaGOP71VITB3eJujM5uwCnSjIMTFzB3AehukCwV7NQLv2SriA5Ogkst/Axzw4UBIxg4CYeN4BFXObMQ3jJp6cP76w9SQSbNm99l+sNyrsT2rHjATmiS/Exj/K6qN1RpgHBhyCQkoAVw4MtoZ4OZJGc8GPr26HoRfgQLWJ7E8x6XsGzigHH2vgOMS0VS33D8m4yrim93xprZDpMTHiGR0Fxv+P/aZOUVHMWDqS4U7L6XkDTePJPV9Knt5oCdkGM9yxlHjNU3qVtG4TBq3EknB7w3h6BDL7g7GDdQhpXhYHa1800C4Ilz0PoGs7IZrWtTZsBr0BtImw3eJclENHikI3V2pnziwkGSTadtNGt+aoz2lgSQvAa7DgoMb3nwfTzwOvvfHoejMeL2WueIgXuCGv15UXOumkgHqvCoiZvfKMB4jkGaXHbHXlLv7zDkpoZRwb4SWtRgj10IeWNH9zroIxV6N2vim/Mp2aAlEdc2TQg20FbXCM3A2PYTVwF5NR+9xJ6pOGseAjYsY6+hlyr+1gkXIn5KiuYgH6eXj/5hH3q1QIFCIHSSW4is6bAZRvu7wZXIMZiZ4XpPgGTE1yoD83XP8UpDLdMbH0O7zN0fC0SWi0uT+DmeOe2OdRw8BDOgBhEO1NN0zQQD0XnjkwxJ5v410YNQpBqGq+iFdVfcoHuyY1wQhBHzfmghaPeqfIiBRmistpxRIaNZGLUikeciAUR6Nbt2p2uxJMC8x9Ecv+RwVQdSW63btDkvLhZomHaX3KZzQBsWKvAc/+/QOnBkq/Mjw+77kP4N7njLtqEKSQ0YCRRyHYGVyrE8aSUYRo5K4htxLyZ3VvjT4vG7ub1WVq4UMw0LSAiZfiKpWgEFOmGe4ntl8TXz7hXe+UmvNdCnYIzGh2yKMJ4QmQSzhciOGGDJjbYU3Pkzb557Ft5JnBHtfcviNSt0XQ+ISirIsX4w+H0kmlyNZy4xQcnbunpmiZXkyQqrviUO7VlGTk6CK6KZiBhi5uRFhfHhXRDAUIHtZF5Kjmi6qg9tY3RoclY5Ojpyzmp0tUd814dPeNJbs7Iksd9LQoSBMn/qv32bp4bXn4tYUphNgpyoRAnlo82O+8x1LiiRtuL/b6G4W1BycrwlVtxI+CIC1DsIdYXoxM7/2fbBCQeKHBeTJ6ETegPmUTOWn4xJ2uz8X822m81aNyojRUrNm42Ua3H0KqByA+4NuNSj7RcULYxjOnvNp4enx+sjhNVuKuVFYkC4seiCiF/wPs2TB64X4CatW4s3PEx7DlFsp2JzPtUAN5fnuCUBfMDfr5xg3FXkORhdvABjvGyBT7xuXWi+fa7P0QARPOX4U5fPfkFwNjB6cMtRGvoGPXacXTHVWLjxPckFnTqJ0R4OjUXKckpuTiymi2gCVdo3vPMRmqfLuZ9Ju9eeDQKrZL9BnTLX4FdfkRKO+W68rNgyQqykdVj2dpJj6zNpW8Y7EgF2y6rTCrwLxWJG+4uBDgcgRb14+o6TBcTMYFY7YESBuJ4+LMYnrzc2jLsbbIv8NIH4fqVp7FOMuQ0DZZUc3lidjg1ycLfTui5TrmmlfVvzRXEi57X41QFzLdC1Uw680wzp6VJH2xHwYoYxqU5ZcapgnJGbQqMV9Euj+W20aL76QdBXvsRyL/Ns5z4hpn2Z0vrvMi9kqC6G4X9NCxPwEoTGq6u/uq9QCLrve/bvjGAeb0wMNv4y4fT5w5RuM9jhf3LJcWkYl2zzWAP2EbtDkxoKGgzYwuNKYao6OWV1oc3GBRF1Iw2QLZed8wSjRghYqI7/tmHgJH9vW8mTGD31+sBVsqxF4JLN/z45bHqIGNg5K4h0iHjSk86sFDVPIy/DK4pFOp01PMN8OtcVKqjhLSsGbbpz8dJjqUbGYsMhcmfgqf1E8ExJG20z1HHvGDqzd8xNMwMyGMjQQeTwVE/EgFykITpgo5BdGNLeSGG5qrqAwmkDcWoZ0yCET0DkYlGC3K+Zqo93rE6wxZnoDjWTQ3U7xtOc9WxAGL1xeVIyP16c9x9rikHbfqNOEEkU7FWXV+UshxBXj+Aa9fKsoTgsTdJ5nsMyBr1Rcy0nEOM/PvbLwx1FHkAF/QKISNtS1vkfPw9vODmf9+qrZqCkY1LDKxM5BvZ1PASYAchoEKarl3na5yokpXoNQhbCl3PAjhqexJ06CLOYzWHuoEa3r1LVTNTdlG+jEbZjio6FnD1tRjkdx5QZNghs3iPMBBXPCphQMr06sv9zb9bC6BjMPwIGpMujNijmC/WhyGUM8bG64bQZli4Nmiw4En98a07r0lnoH7owkU4BHn9ya6KHXTwcG4afAVh8zPom7OpFWtMMmx2/unaMqMEohOucISsgEDFqogRMmLQdAmWJHp2tFpOW2HUK8r0k+4TAM09nO74Z0s4nmBKtfxBFLGvNx+zGS18B99hcylLVhhYjdrIGKfwDXCzR8MObhy9y1ce7JTTlkq3UIZCTmSKcaZktwiCZ3eooIdDXQqcY59xI2LoN1IhUc1l9ldIwxDugYm4mGPQQ+TvVlwya1n11FkpXxRNWxpxYJP5ZCo5eYmOBxs7Ywk9NPldLnX7bzgSpZz4CAGOZT1a2JIWPqohvVFiUSS1MO4qTSW+MnIIe1oL0/YrzhelrTO5Pz8V/bmstM0CEpY5BvAChU3Y9ZR6VNeIW6UaSnw4lKpf9j+A3SrUkp2uWgs/cCLUEvlxyDXW+6DbuCPoSEoVxuU1hUdy5706m8MVkzAVYZgkpF/H5c4koZQAZeAURAwAxlz6AhYPRgZUt+G5RCRXRmmrJql0m7gHmP+0nvHSugzr2yNYEMH4nl9rhNThhXKal1SIUfJ21zJ38jcsyU4FYjw4G6uEuK2i0uvg74ULZbxC2fF9HFlMHEKuQWd9fm4JhH1jNi5bWTcJ+IIctEW5kyGWR5CpwbB40x/mqk18eezNModdU2qoZTaNh/n8C3XCBCYBvMbwiOUESvw76XYlxbA6OEqccTWoCQKj8E/1lleJahpbYGylvPQ5wyqxr/cJfjXTeFtLLWJk+SGReu+hT+9xDvlzViQUp+JYaeIjW/qP3r876t0bqgY35G/fpWkMO6TejQbw0CunqtylLGSLWhX2a3VWddJC+fOk2Q0RSqF9AsL9ogZljxoLTRmMev8UpAl5mo1AIr5nEcasqKFKhAXK/KtkPV/SGnCWXk9CXGyNMOw+PkGct5RjzjTA+U1OO2HevZMdM7P7v6ZHChlXH5gvi3uVu2aXa1dpo2LD/kj8/sMP1Yuqa3HtiLKZsJ0k7XnWGHc0XsujqGAlwCUh9NFyx1SbMLClDeOw9RPN9Vc4+9eNZfmINPmSSP0xRxCho4Yvwl54QfWXb26UIt0IR9L9KZYB68U+gZmuwq2gkCwaZwLJ0l2LWU00Any0zR5QRopOrL4qgPSzNUdFez58HroewiDUvmuin7w8wkbXgUPuaavewrNTRINJKhd8EEgCPa4s9+wLzPjaZRXC5fglyU4DHpdruiDmCv88N9x4G9/V3RG8eLpX7/BExX47CuxclbtEQZFtfEpKUjxLlEpiWCqEglvI506Z92u3EAYi44v1lLV+Bl9Kad7RZM3pq0IWHpXJxa8xQZlvtzW+PnFYsLp3ECkzkAaNHlUWIivzib7KKrKFahyyl2oIQNO6Gi8CQuRBcc9HX2XdQsx0hjeSnoGG5hz8mEPN1cO7gH5oVq8/LJXTcX5YNYwleNB8Mr9D+hy7d9XUwouGuPPVKWq63gNAiuVOh7hss0Z1sFBX/f0Uuk4thbDFGNkBWd3bQ2FrRBOCrE8o2k97FWKu70X0MOGr2yZ4OYAbC10YbQ3d933XjGi3cD7O2nb+KGJAN1KzkY2AjyW6KhW8K2xG6uSONrjTd+CV/eYumiVK3ql8E4T79MBH+JWV4syExGk3TRnLKRhu50mbjUaeQRVXK2fpuP/fCn0jPTYvl9DqQR34MgLh6p7KDY1HRu+hUZ8bR8Hz+uoGm2uWVeYmoDXmraDG2VnQsYUndKB/Uz+1T08/f8WA5zLBDWZwuPAJzCTkenRuV3r0OEvOEey7wpmpj7RwnmrimuHxcHzXRBhbrwaEFqPHmw6mzOTMPdf/vAE4IvkJNEA59iz+0MUCBlew7OTd/k9R2KDWi3WHsmLmj3v1sRGZMI5pPXSPLDSoBZoYUEG6Y3Y0dWku+PoPrTwv3oKDLhSaAhlPNtGHrIV2l8wL7Ozcq0r/yDj79/jCk05duyfNETGke116wBOODf/Z2pc8hzZxS37BSbu+j2ai+GFeo+swTjZF8HpuMDEviH4dYYQwzncqIJN/REufikyB9TGM7ZBYdaH0MqA/XWQ+iIeDQGGveXs0njhWb8qQr5BcJdwv8j9ZgHYjLt3UdsEAq+VJKpgaC4gyEMt3N2JCkzgHzgaBCejBD/nUeHFny8VHugDSStXwZu52I1BYrY9+Ksbp0V3Cp0AOX+U4n0jXpMte6npAMi8zg7NEeNnwZgYnm7jlkfzNPrfadxBVZM/H0WKEeaKjeClMICp65De/+j1NcTbGNTi22XUbP2KbkFC13aYRbs6JfxhJqtnUxCGVnWJGwZFZ8/d1ZLGtBYiTlg4WEWY4LNMCqUvj5Zi6LPNCfuaEg7riFieCTKqqLKNnRpIZpMnFpzpQEZNWbHmLhtvFNwnI02q6XkIWIKKhiOE4sdXfgoyTzRUJ1aLZYL2sBt5z4CvGgWhvIKsS6cKZW9WQOhbzZg2KKbgF1XuhLHdWfgM00+Wly0Fbex0slFrR6n2OPkDunR2IK/VZI6A0uDQOVz7bAtzmBy5J2Wjr9Wt8EfbxIcRAcBwfigLX+JsH25ldsS4JfezSebGhZKbpvShIhemkMO6BMYuAgfsW+Np1CXZRJ4zEy4jORn+MpN8W4A326u2u2w6oDF50rBhBubDz8bL8YCAXymjMEpk008Xs7jjemquDIG2DbjhmBN3NMsqsz04L4gukJ9OzeKG42rk+JMiE5nTrpPKwJSzSjYFAa7yZoaO7eosT89FNF90uMq522+AW0H7Pui86/o4N3GRSs205l/HIzc4HbfivdovL/2Kop+40ffUfFcMnezsTk8TEq6r1cGa4uMW7foj30dxemFCXZnzZjl3QhsX4e4XUDizRZ4Ljrpcxje/RKLm+P2aqPOaztFzYjhvgqr8Vonm1VkQr8HZcXYIcoGHW63ftGCEISkQkEULqGXwsUoLcA2cTWnSMTZkJf106kKLMd0GKLjPpgxaf9+oUhrxeKIwiiuWcf6v097nsI65rEaxr0G4T0f2xQTTiOPZhhbDH2GCQqMaO7efLOB93DWPeDwbc45mkD4oQuhy1i3kh14UBO0ER+Nt+T55DuAioXU3wmT9KFbz7hmY4Vb7wTkJd07Oqy7rN8uKQ/tNRKZAElZ0ZCd2054Jb+P6O/05xWcl5Ow5gDLCsH4AtezdrVRAkcALFyQlCr3e+VlQNYgQQreVA2BrykaDYzFu2bLHDdxoElaXpQ/snkBuPXDjeSn3VhQvQlipKWz+6PP1coegVCtVOYoHNR0mPKgdAf3CRWXGVqeaHxO9BTIDx0RVNVzquG2uX6A2TEvcpHp/UD+AQqr7HTKUUnWLYDcxlcPxSjuHYCgIsR5RnBPJNFq51auhtgJe+oRmYq2USvLbT4mVvIHykO/0gm14v8rKoPB4Uuk7Z+5mZW+soW38c/Vql5aTNouCtMF+cavv7xBiUb1f+UPWnqb5eSftsGZL1v1nu4k+sGmY4kgPSlh4VkOhd0tO1Bp+gj9rJ7VKhUBgaQIbRAfRZ4mzxP9FVnhJWMU9jlJCsCBMQGewEjTmvd1qXsNTWtLZ1ZvCosHPv8lV1qD4S2VU3yL++gd8r5q8KTtACpa0ZaKB1lTlmsB07JQzFyww2rWmAHIXJBFs4JyIGFp6VxLWojgKwcIgCfHjeMJ6roasGymY2BK4sj0UKNgSs5RZ/84SK2E9FyjstZnpgUbIOwgt0N3H18KdJfUJVehpU/sjwqM6zNBQRpo2V1rxDY9gvJirMJlfHBnxE522Ra+kWzbLhBSGxT1kzXn4iDxcqqLwktcdIH5sq4dSjpMwqFfjUl8E424mIykhw65T3vGXlb1LV9OdAs4iNspnq7/MXoBrcOlrPBqnJvSH/aw809OM9XiRPo8U1Sgj9laOzMH5lwpzAcNOAjHDA1GAs3M8CjhJ+fDbFHGwsR31MAgADDE7WKr+XtXIXAukt1jlS15MX3XGzcD3NnapeEOvFhJpvPyJ8qEPzhrtX0mQ/EbsRivyb+pKHmMQy9eYFNSwciy9lv4ExcCsuaYNuUvOvZxN8zsRx1/NSJEittgJjdRmzCLa6c4BBzbVTID0okpFNCcSzOr5ahAnsPVV/5WMWo5uoAOd7HLXJHjb6rblpTbJPtYTt3LBpSfUiLioAlNAFBHkf8D3DNhMue27DIejKLyJVsz88KtDDx+L3KvVlXBQODA1TeLhSsg0bF8SE6etoXz4nHcAQvD7DQWeqbms9y/MxdEBV3RfUgNS0e52ezf5jNLSTBLfqyXgQs10RbXXD4ULYCpYXtR1t1XiAX3qEHITa9bqWVitZ3tupdjD/DSDP1n4lb3Xh8sqVqfbf101/Ehu63YbUrCFDGP1CbXaxVsu30ho/Mk9FUCb5zOM78CCYISnN++Jzi3hUggAiahEtwSAK5OlUNf/0PI+yxjNrIRd3fNlUbPlLk2vkVnJofPQmfepREU9fXpmuAFyG6AMVQWGixFVZ6p6AaNQw8Ioqpg2dolMO/lgoqWzTnkn5LSSirY2TW4bD2yF6egAnv1VW03SNyM5TcR7/Lg9VQXgpSB2jOSb6XinZrC/JyLws/VilSpbXaqExGy5E901Uou5t0dCoL2hY8e/AtglLv6vSj+4IGEhiVDrOp8swUD4i4s94C3wi7UxkZI1EUlwgTwoG6oRR1K+54bwGfaBJ5H49V0x5ftzgNDwSsJW4mUzzoDhnFlfyTCif6mqkq5rH+as5qHf/EJRgbTuqcLHcK6kB0mjMWzLZIGwwl5dpyITr/Y64wuOU8G2l+h6Tp4xXzW28EIq6SZ/LHlLL1poUvuiQgcIgQtRAoQfMhPH4fpVqkeXyA5c915F+hTAgTh5zavJ0qHdpPyJYXTf39Ycf0W/t5oTGTS1nhgPPkYj65mC0NTx/h0FQy24DCAV7a0Un3eGyyPkNAxMwKMCWZlir9X1VTrhWAHCYgRvpQ0crbxv/NVYdXSa4AFFY8n36tkdCl0ddKbFUY7uY38V6+MUpF58KIFt58G9oDHLq+wRnjsRC93h0X75Ye3MGSVQyvSIwvRRZWy1whej0L4A1Wd8sdwZFD/w2hRtisZ1+swq3drTYFI6nfsr6vnpbLRMfDyQlHiUlYofctt1yLoHVvbUulv2wALJRku8/5nszVrUv1vo43RJo22CtK5yP8kMsHCACbBAc5VnYWTae224tNICXd/4WHS/HngDTlEYxgDFBAtRYv9yTCVnR8ejsvLULfhVer3bMRXsoqekdeLQbtp2M9B77ij1X6P1zxezn1xQX2bYWforfkEYrKKtNXkm4+12IVV5AVYWtX4k/OC8PkIBv0CSPdB6+d57g6Pvb2qJEIrpKRGPsUZTq7Urm+OMWimlxySM+X8P6Y4CBG2Ch76R/Bw49hvwLBSNTNoSDlmhtgYyL2gO58B6q2a4slOuQmiDH9doBgZ2vm7BTtnLxxzmgzXI299E3hDO6M56fGzmesY4hn4YKv51wBBxSxQe8djcurBkP2NHpQCoEOoaOyU11XSEI4d0ESJoHi+8ARjwnTdIs80fU6LwP8mvC/EmSyEdYxAAq+j0jepejWXa6pwY14xy+2dA/4tbbdexIeZ45U2FYyFU6XL+JJSWDpNwjm4Ihq9+R6cw1JlCM6B77dzjTKToM/AeW+dh5a8NEtFBIm2BjX9Jbpm8+hQUZ7Nyyckuze86q1tQ0otx3NTdLWV5FnWZUGMrVbDu31gzGaAbiTf6T/BOx1bAijL2ZassHSZRjaciBNLX0X6Z7Ir5d2pO+TozdPGhyufunqBAKLAYDvjklFRLBF8tFWOsqZEtWcmXAQo6EM6eYhr9suDiwfohGeSBS8cWpdtZ6nlq3jufFOEks5KF2QTi57eGEx2fjzxkqsH6I2d86UjOG4ieGMtyIIRpoJeeAR6Evv/hUUyAfYPttGvwTx8/TLxkdUa4ucjQVK5chl5a3ML787mEMuVYX8zXMKIYf2LjHG+ipcV2YfN1qc3o/dd9ZwTFQOZPera3psJigat3hNT32K+J8bsKxlZFV4iXUFNKHx6YcUQJs0FqKeJ8nz4ohNW7ZwZrzwzZVRz03Z7aGwmkibRAeqje9h/uaD3UZsxiIt++fCjubnJ4rZR9ksOTEPo5zjvYLRTZXx3MgHgJf/6Ajt5MvfSqKOxfnRymw4rJHLwPaAWI7Af2m/agwWyk/DB0KQyYxOp9rGqk333kHgQ1Omk0Jf4nXzbMcAQLguqFDb8WvVZEVRY0kMOgDeVuZ2BjcD4nKirkrFHKst2cZVfsg667a+L+NagkKjsByGJMACkiMOCEKD6xrKdKGv4YIuqptXCG4CigO9sjAIx+6hXER2iHesTHjrSI87CGsgmDNu6Bd+5MR/3NdjUq/E5jYzDUgJtRsXaK4w8hOh2jJkwBoiUjZ1C/Aec0UUXwdb84VAJaNzNFNQfTcuskLCD6ZXKnE3tC+f5OFhUmc4M/TNrjusynvhKbBUpHXkKAcJZ7MQy8ZVoMvt2FGtuhJsSEF9F5rCvSYHmwFLpXDhGa7GtEET/tLN3mZy0IJk0XhS93Z6IVjTS0WKcCeYUd+S9VKc1AP8VxkIXKLXt6RRXlnkulwx5kjCN99pn1xm3WeoipB7QdR90muqxM6iER94Yza1PiOX4vicRiSdlNK++TWOc0qdnFD7miyVtCmBIv4Pe8LzteaaQ/bmPA3Lh6iyNnFfo5vSM+5r/XrFnx70y9iZTXPCY8DtStKxJhHRWh4gXB7QSZUiwgQR/ZMCF/3Ncxvc/pPNVheeX7omxdl/bPd9bFTtn9N+dC7wh2wEYQ/xY32rYHPyAgeqyqfbLw2e8slm1/HYCMrWWlemf6YusUjgxvyoSKnnYFIG1jMPRsMZTgbFFitQ0ENKMITfeVVO7tFy5MQDLsX6Vw4dQGpdUYPkuBJB9RCnnoPP8sJ1Z3+eY0N1cSEr0rYnLPWR7aXNF/Kg8RQYNiEPVtjIjbSEG8ci26w5zaNBDV5gh9+6CGpH5pOM6eyuuEL9JGIyXpk8W/tvQOMEiwmfyxmerYWcRpLxhaESoY2hlkazhV6YV90UZ4abzmLoo5xv67XjWjlhfUeTJ1jjypFoU/M40uZFHQBxGbbpv0mkP3PLcaI0eTcgDikdUjfGItKrz/UlvbXRa8UYYJSKsMkNAVkZx1rAfUOcxY0xzYVlOGLmAC0iGo6A1GvgY6UGY03LQ/vqbF2OQfvoE4vmpkjp9FVj4BKoHBQ14UdPefQrEx460eXytA99WwVSxAFsXjMCQt+kHujYNvDW0bu6amw1TWfMU7HB9eSW6ymIHmCnUgaRajwAramL/DSSAPb4cCCprNTlRfKB8qn96lLswa4iUffvVpOxXM5sOJbUIUMkO45psjbBjXf+Nel7xgvJLJn08PMuXf2T2m7WLhXGZrbcq1FSkdLDafx+vkgl/qooSP209xV5XJe4FRtT/FmFsGL7dKRl178R/MhZRfd61ljcK8Gu2OFUdwHUyeLw7bn0Iv5hbkCYVofEgIIUE+N9WmrJXr58+G0i3ETjdyNBZ9PTbPGRu5D4HJEc4ALDHpWMeaK+MM2eJlR4h8crDSObNNl7ZxLv3UlJlpZ0j+IJ0MLBbya0w6KqJBbdxGzun885jj3hykYaxixW0URNVzrhs0sCpfkP1trHpjF3gMlNujZPcpBfxw8BsbabwAp9wFNZYou6j4EISX8YsE1G8+hmxop96ZDGarUj9C1YlBZ866/qstqycYtsdptpSnQAHLLm5FdcKK9rW9r7OtgmP8DO9AV0Yir9HSug8PUnOguVQqBS7n16LMr7qd6LCXJCMRNpfMoOqoQUFczpz4TqWUFM3KwLvCAH999WU5RoZwdBt6LbiiLuWS5OZCMiAKyrTYTshnwIVi8zPEHnptirL44ETmvr/f/vS9IZL34UnvPxGmEkesnHxuA0+KL0sQlFdXDLMw7+gzIPV5GAoBM3BNRPaR9PqIbDrMR/+joRrPjVhLDMb8E9/A0LFmHBsOG+0fgc+mUiT/gvCWrv2R+T0R7wPe9qSS0scOVkjL9ZdoqjQFOcamdyMV8NNxlCLBTLOMRIFE/2gaAFQR1Xjj5cPgz/0m+icUdLRySLhsKIWbIPXutfsS2wepfRxzs/0hJGgBBy42HBCpJFn4T0HNMYmGU+kSSoDO/FCgS1BrPBn/6bjaI+8UJAWaAvJPhWii2tiHzKX/WKw+wmvkwoQcVRGrhJD/0S8i2CJNwMsmmTYO+aZDHoAfgJMgFYDmfNmI5ni97xtqY5/iHQ9nptx+3hlKKiMQ8o85lTaMmiv/AqPo1a9/1nmz5t7NFb6BEpRQROVhXkJGmnZ9OwpiAU2lVT0ekUkhSG0BvCLA3ArfkeB4G6cv8LpThSzo+hvAt2ww2K+0Ulqif/yBgpXfr3XO5q2FvSYkE1wlk2rcNEadXDO0PlLsw64Y5VONJBq3V6KglU+vOgXO1In4mev/KDaL8NfaiojYJwOkM2tuOjpjiEgfgei6lfqAAHXEZUI+AnPzsG9UCRwbnHIUrGG8GYF9CBuTNZqkUNfok0Pvb05Zc4+ME5slILgzIAX22psfx+4uys/yWALzND6ASr1+GcEb0b5w9lqfXh0RvZTs+LihqCn8VoOsSyObWcJOTc2CssZA8IhXlyyOZlWBQDfi1DseRQqmh24xBKl0Mz5YY79yrXZo5H+FfWUGADRySbgkQrFd5RGYgJV60bEv+rwrBQW0hOhIcSPJa9l+Vkpinhm6lzmG9n4CQWwJG3ghDgLwTa8ZX+S8TSoJPcTFwo8nGvqrac+wXyPfj06iw6G/3HuRJuQJiZ4VxJimcVm651lYQEHQrCq6VJIHhjlKsSNHlB5U8O10Z3YLCQyucxdqsPvGW5+kHLtXTg2l7p5wFBnWM0Ui2VNJArF3BnHczxPC0VqZ5a5BXn1slDXAwJq/i0FTTUbnrgzlebivte3rss7d8v+giZNrODX8ENwjZ2dZH1/OHmGLgyclt/xmeOW7ST+SxE/abSyWgtKwX28G1YdwiL9JiO629986TUa3V3NoLtt1ZyqpmBwKK3zQiDC5ztK3XOszxV8at8rK9dnWcOzuLbAMCu8G3Wlz4p8fbPym8YrPjUeE0Az3yJjrDQ4Fq6NUQq1OnkMX5HKtddZjrK19ohhAJjo6TNJTna1QM4BRwsW/EexhwaNLIFnn5v4isofQ23GTvKxjkgxv2MgalHB6ALd0i9kpjh54O/UrpG+0AP94xTUuRs9ZsNfRjCQa7jHRqlAR1Ny59in+/s8wQOm9Ca2dUj4Lg4DcwEqgkrIBful6IMdf8fvTIpONHps9+Uc3h2F3TG1+oQZekKen6dZA2ijOVV4YblRRkDYpoqAspzPxK35d5ilS+FbBhcpOmAULJ9fTYnjm4nV/Y8CG1LiGh7m2hq/YLoK7Gb0Qp5hA4qhX3wD1dOcMRm8PMKMioIY5ShV5QrVZUIZa+SSYGZqLCdN+xhIWU94a9UC0EWgXoE/qSGgo4wENt4uNzUGGGXnEHHLVeUyYyLVolPgDPxCBCsUriX+5xk3BpIMNt+2asV/Z664VMaaYS0KI3nIEO+2s3u2dd+o9oXeAvYBZFnHpIimtPwx3eWu/ouEoeqlC6j9+a56H4KEIdAqn+vpfgLDdHzYOUZvG8gfEICxkblRxBAwrmBbojfXfUvj1oGyI8nvFHJ/hJOMQHDUg52byw5pEZk5BaiFiFcwpjjCxbgS74+lhoEhzAwZyzppbcxXjf0q0idUolvHZuDCVhJwB5zQACgly+SGAiieLKmT0BJWZjxGRRyGu2kDUAyTqtYPUnmiAZIpG6xp2P1ysdc/cAS8jYha8DMTShP/p8q5n9/ZtLQ/l8NXX96VG4DUilv7NGhB7EnuVQOwyjaZKSYlmh1ceYW7K1y9bLgmnk8+4PGX/f8cDy8Bu6qn6sXa8mU2SDbaE+9P0baHT84IFe0TW0HpoSp8OnKPxc41ReEBu7/xFA0t1UJLLLBG0uuAuN3dCyUJI4+Xb9MvHAJfp+s3zjbzOhBTDCGwjROz5b/5n4qnla5hgQ1uerXa4YZ7BGQNVK2Yi6QJEYK03n24Y34RGdaskiwBxyOHLZq6ZPOT1UU3nwowx5fyw/x3VtXyqQWf9qkY9Bo5He/RePrmQcy+wpCO2AlHHAD6ZIKSj2xEctYM4B62jhRG0aixIx7yo58HIfo/JALXcxzl9Mn3DD/lTUSkgcRvFpS/M+YKzAC+XBWxkcS7nKnzXVEdaaR29n+g6tIKYSYEoGUZQA5ho/QAMMVnmfmi7aNEyQiQinV9jwU598FEhF84uLCwsK09I5VFw7l0V3EintVwgvd9FVDJ6aL9UYVlCJlnO0iMGGULf028jM/GatlfvZk0x7snHsCkPoMuuBc0oJ4uT9wNVBgyQ4dhcPJxjSeLvacIcbcw/sG9+N82IQ+FOsEUPTPZzzsSdSSDUg94KRuvf83BfzTJq2lz04l4P+5WlkChyxv/Nf7sbDdce29dY3L31DMGtsfgpLZ14AFPeYnDKGkCtzfbimOVO8g6zjsD8E0JQQAHLaX9B18eq3T3dI6wz7lDg1zVW8FGl1IQEQXjVPd9EX8A5GFh0nD+OWyd0ze5C2zk0WZwc7OthiNJSsVDQgVWH7TbagcCYfPPahbTGUHn0Co3Q2qL/P87/CV+1YpqGzHowOa+9OB03Kfhc4QyGnX0ndq5ZzLUVCC4QhyF3kdGtNTVqoN5K1thWp34qlJTtG9Og5LcbC5E/QV8yn42leV86yImSAOP3QkrtIpm54/YpngTp1uRGXFDULW9WtKk8aaR1HNHE/v0ePIOlZEnFi88K5iHyDcOTAuFJMOd2ou6hNNeQbvmygQYiB82WPsu6tigZQcnuL8Jm+roXu1F8EyPWMA4oeGy3RNRgRuE6D8dDOvnQ8EY8Sv15GjNzDDtGyUB/A/DYf0LTpdtja0rGin7Ohol+fL7MAoI5blkhuj8TaFPa5GzJ26roJRJmrXsDkEOP7Pkkako8m9pNSmAxj/GWpbVgjNvwOF3nW5ETsm4WFlpcL3jiCQVVYRB7dl8kiZPym+YtxV3p9NBzAiyH47X6JfD0iy2OWqBHzsnZdjiBceQB5uGUKptHq/R2AmvSNiehlePg8SFfvHY2lX/aPg2wAUCUXngZlOJHKTGc/6+XF+BokhdlEIjtONhRJJjbrszc0sSuXc9jLmPfmmFjfVp2tbRF9Qmvq66E10Yi4EX2M+XDqRIqdozY8WL8WwMLSZtGxC+ksQzN0e/ZA5FnmdH1x2SMon2mpEZ1XnLafVwQd4LLBwcgYxxxOKirxX/mFff0DanruU4UTYu2pSRFe7PgBITqSKlM8ScT6umHJZfTuBe/zzCzafrx6rIA1evosqQQC8b47YDmetbb3rA2kAwfrQAhcXjvpSI8HGpZW6G7gVczslvT9obW3saUCIeKWUYjoJBDraqbny8BOYVe5T6yljf9QvgMJkge72LveyxVH2sOHYdgyLKLGQni8Ztdycv7VEpWdabP0cZWvP0gVb5mH8itzv+nZZHgqZ6kbcRPkAbETGltCO2V1ULFGE876FJiG7KH8cb4wIFE6biaAxfgPT4URWy5n0ocrvV9yJFOoCTCed0T6iO6FKEo6g9VBhj/1k2+N5sff8dzVCyNR+chKW8U0840drp+f61R4/TviYja7TZLyoU6bvPO3DmnBcAwPE6Irnl2/AW5vjKahc+a2cfoLsphgb6a4zj3jwwqugJ9QbLhTYyozDhvjZWyrx6CSgVckCcMJDc6G/wX3fC0F45cXLQWWDwkPoZ1YCr8eLTnEZt1B1/YswhVPJyFUh/ZbG8Vr2ImWXop11IM0d+Q521vNkfQWrsGqJ9ng6di1zd2pE4sWgGZ6XF6aTAuoxnG3dBGog6ZJ6G4OdwPzzdFnLY1uku96RxK7EMTE4HrK6+H2pPVijqQRegjiOypz8ma8T7COjf8yGDGOY9WJDS2NuBSo7iqT7YfDykhgMIyGAaibDfYjZzBp48NkIE+NEbSoKbL1XBMiy1QG5zB4aeChdBHu/VuDJDnhOqoCymxHnEJ/gBKGdMneWJiwKMMmN6QfvJvXBMrQL4hG/RbUDD/AeKMsFbVipfBSXSxjI0+PY2IPzOU2UPcwYlb6/EMQIABXmasNhIZBIN0UyTXqFdHtWY6jIL84n1Gu5lZzJtaAG8lIbTwkdr2s8KuPSi8f62bhmTLVFLi9msSvelsyOCINJKWADpk6lu2dnkag8wFaxcUG6AwQzJnho9pE9KtztwjJoa0CNuW6yVoXKko4AvbFx48u0mPuOuvD6Z+QyJwiZXucSLHnZwWbv64BpWCe3huwLsihvnqWLRyoTKVpM8F9VFocooe96seIx+ELW+EWi3mvNdlB7HEhi/AQ9/LGMNJXjwnr7uZNJCM/5aRu2qgRaTWdgru5cHnyyFg637a61HOr0bDhDD2WDHlcZqYnvoPk++pLF5s7FkWXVgEOMseBobaoLowZXDbF+0nf6DNAq+0x2C/DPB3TXo/MoWMAUi1bORymdMvQn1KXSY5N56zq4vQuvWUsrAE9sg11U52vf8Kv32fJKCaaFuXBCPuPEIz3uxNszziRxQ0emyHFrPFDfRm88ridlmP8+375GQrU5EC6tLKcjLQEkAdEebnyL5eYUohhh3zvYZT78N8YSQL7IvWyBwfguUJfzUvGRVHxPp2TWfIngXBk45S8J0oNaYmZv/ygMe2DMsGcdW4b3NjoOluQC38V2vBYfal2NALVk9JXnEy42lVRvYOryYVEjIDaGzZXuj7VzHvNyMhcr2sfuSWcP/n7N3qBI552auIMOxl9bCxiDI8e5o05ka/biONtuoQF9fT9SbnkVVgxX1EInR6YP5ueRopmD/Bf6dlOsFvcREX52PGGNCZvGIxiwtGd4TrWy8Pv2OjV4P266BrW2H6MdGJwaujBKAX6Ibs6Qw3v9+UOvfj4EAE8brkso1UHqLP+xZlMbPKXnkiggVKIBf5jgX2PkwDy3SG6Thd8JrBlWpToPts+Hg1NZbqoN/aPNlHAnc50CAD5jgGdYqqOHs93JO2fyCiKdG8lIJ3GvHnsQtHZujrUSm3fnULGm02DWq8tBWX7gX5J0q3FtC5w7WVcNMtrKtLy+UmtI6PO8otyqrORuVEHVMpv4KI8LnTFDArgmsWe3FCzYqlw5nBN4B7syiM/slTAX3G83f2ey+X1lGS8jWRsPHmGg2uZzuAXyx0hKqK8etI9ExfoOIX+SRduz/IcyC/My1XXDoXAazsObTqbDZBQx6bnqyzQc3Z9apH35CvcZKpj0bt7FT6cP58/z37yboXPPQhjsBBvGFvmTuCOdJ2g3JMrmkEydEDTUPVVOrEJapIuAqxl0mi64phszpHlHMbN4bWB7NgyyjLETkZPnBG0WfiaZG8tYiKSthwzF6ozz8iJ2fOphJI/IuBM4cYBZxUyhCCi28mS30J3Nr8U5TwoxdiVpuWxE5DASeW1empiAtki7+dv+RqV9s/WO0n73kAH8MiEmk6vNsOjpcO8jqnAVyf4hwHZrIUpdnbzY7zFElI0z42iHo2Ima8QUJJw4/ilST6TnfHWjkIG8Jre7IMmVmtkjFx2K0Pdy+yiFVqrZNTyzvM+Y4nmAbF1eX8aJNlrimRNuUVKxN2uWZvl5fbOCyWDTdDnYX0urryAVq9cPKNg1ECLrjqnjQTf04IcaPip2w5hVaoHp69zylMhMb7Dch7+zkGSLhVC7NlvmEd/UVHrq6el8ISVfHVegL5TtlRxEfsZOSkbsAVcIyMkm7zfzs72jFPYZexIezsKojHhiHSxoV6NhsnGPPnm03eFNEpBS+B9hIgbDh8hCxnG1H5JRLNAI61ebTTzc/uKeI6bsgn9CNktC1/wLfbx4DZUU/6jlRGNHg0EtOwULUwAWbR7YSbyGGubbKArq6/TaBS9ajQKOhk8tZ7etX+GCug3NQ4HEa7kWXmopW4xRheuYPV840Ra+eB"/>
  <p:tag name="MEKKOXMLTAGS" val="1"/>
  <p:tag name="MEKKOEXCEL1" val="C:\Users\nlarson\Box\RIDE Knowledgebase\FCMB updates\Chart Data.xlsm"/>
  <p:tag name="MEKKOEXCEL2" val="zzMG_Chart30"/>
  <p:tag name="MEKKOEXCEL5" val="$B$1:$X$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02659a67-36c3-447f-a251-60c4e2c5a443"/>
  <p:tag name="MEKKOEXCEL4" val="636415187392382596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S8KWlUv9qtWiRvZ2ScsRxchrNLuqgT7EFAl2m4yYxcqadqzLQo6aj777r3aEUXR9Tgwa6EgJvOJAivh7T1jT9a4WW+nGqLFoyof5g0Iiv6Ivx01ndFHeIKOgBCYUC1bEALyayE/RS7gYjZxC/Y0LwUBe0V9sTPdvoRvx1+dPbJ3QpsQc7kU5V9sQ8iKNyHcpFTsIarj3EmbDNY+r6TT/uFo2yT2SCsiF0yrGjuEYZahgomXTtzhznc3gHqkPawdXDkDrzza5Qb218QlOLIkxWicW3RdppZLIJhqNHLMuEcp0RuAwWhQe0bPIe1KWZP8T8TdEdAUssQcOZGvQ43tgy3//lrcApNy5Ua/JloZ65rlx2nzxVeF2Ut8D6j3Pau/zYpiFxS8RkFOiztWTCwFm3ITuVvTFgiRj064Q1/Cs+6Bzzr8HHO5Cy+98OeUVXPojzkq3rSc9ojB/v2Mar1uTdF1t6b1FSxMd1CY0QWJaYjAJ0C3iNsWGi8/COYvom9z+0jf/evDZoBg3jBmQFDO4ZwQBMZ9uES1wwg1pvcWohYwN9/1qKzp5XCkQ6fipk04B1X2fctKsooWv5kxLUNH25F8AQJhaj7bVbzjwCMNYvtpef5aTXl/RRldUyvR1/in6KMYihqscQppA6J+mu/u97sFtMmUuqk4dDxaSAIsx/bUayMkVbahZKxj18nsTs2dy1lDCJWIi3XNH6S56SAfCpj4vIcrmXf6XTmVVfdXYUKRsnXPwBMvuBfPoL3ZUDgVfcXx/KY19UWuWJhivTBmgGl8Hy9/TExbe9rt3QGliMga8NhaxO/et8fxQUgvJaM17uYhm78cdx1L6utqt1nwubNxvqrgU4/zxbmnJIinSNjZAbNzpcJkW6a1OU49jZmNk7sleKVoJJvoj1IgD/HrrNq4rUxmPeJBe/rLRva3WtdQUMgkQYq9RlF2dH+Iy4je+NYCbuUxVw4R3nCpk5n4m+bqZ39BV+ygrWw/b5XMjpEg7wLFSi6Y0Qdcv1WdOrNKcpiwTgoY274ZzlndDxEJgVwHkYd9KqtLScwIlJdXAAu4hCOQK8RN5Z8EKjM52FnU2SjfzjpctUrFEfOA5NbbtPAChIMe37GZreIbUDoRV2x+m7dh9Fa+fY5Wy0bJ4zvVfE6W6BRDRSecxNPUuZWzhymSOq5+dty4juwo7H6B6riACnJMKgGUVCnCpXkEEpBFGU1rDnE4bCU2+z9m+hbcwoNRH1n+IN7Tx8m3C004jQiAmgC8TvnO/DRzKOPHnlRaiiKxtk+F4qKvGD4H5NHXDf5RX9uWnQK8tXOHFxJfB0BsH0EFJ2tfREI0qUsr/SekrfstOFl6x6PKXXwRnUqnEjjvep8F20wFvj5KuWv3AE5recmryMRi5j/fz/gFE35glQ8nX7A2vnVtHMM+oKQ7fWVZCjEC7O7FFgytco7QiC8CSvMwAREX6QEUbZUYYY/GwXUTqFfAi42R84TXnvLkjNtdvWB90A80cr7Zripi0rgvvxAL/dr+yUsO1a5wWp2smhkJDkqVJkWxAUKwBia/4pZpTiISJf85edJMSow4aRPsPK3SGs+HySjxUkG5JDfK7+pgI/ZxlDDKl9MljQeBcwM1MXAucKucz3XvVB+IUu25hcqyfXHMky3z6YY2DTaXwBLziaXxN3lOvfsqkOOKdkAVQG3DHZtDo4zPJ261QwHc3jg1uNfvZDDGaa+dbDlFhUCsIiQTUufYIVWa0lFjwqqSvpERfSx6OfV93ZsNy54Kw9mXUsDyFD3VlgHu3YRpYvzNOdlInVMwG7jKu+ocgxGJBDDtTkElUsAeiE/wnBfZ+qxrdgB1GY9DhwWwy9drInMYspGloNUip9XMUHPbLfdRKP6dIHsMY688Kr9ilyZw8QCjYSPIICQSkbCFFijbxuVrB9wOKZ3DjEXuY6o3dGniio764n3NsKYfbcOMJTPtrn5OlY5hJ6S7S/xWiogqcdFKovN801fDVDGOTFWhLFGmSHveYYmdqnjIJkKnBudQCKaUfhSGuq3k355mlhJAB7gEPlEMzyJ0uSTnD10qtrBwumdXnEW+QVNuDn4+X/UABSbDAD1+x6etkJGsNbgdCUrr0pP+s25TjAmjWqCxeTK6dCdkCekootqTxc6w8UQq0+36z7MPwNtKuBtygevlt6ds7N2bT9ezg4LgOqeoEPcr5yx73K8rQH9U1/+LYXAW3ZbBbHXXZIYjVRbFkLzIdK3C8AfMetzK6TvT0CX5H8EEE4BHBD4Nrkv4NgkhsPvKso3eXdDIm8WmSMFVt9TRMzjKOo1NoXwYdaWvI/zOoRpIoq2D845CcUbB3n8qaWBbSUQ5vEiQCTEHntr94JJiE6O2ilUHibFmgpzaHRFxhKQRjCeIkcTRpuITrkO+XfgpAWwjtYR6haNk8zXxTvN9KMJRhSnOmD79/NFe/pgUb8802KtdChqTSSrsy26oenmqBVwNAJowzuTqpMSJ3Q8b9ZEVq5KnIsmewEXi3VDY+ENxjsNW7ft0kl//MyW1kVo57Hh/MdMrtdi0+I7HzzduDmccMutDqMFxGhsV4o1oPnZPY6WXfhR+SWkOYA1f5Q0vJnfhZ1updXZ7Mfc/iA1BoHZG1AQTJLo1mhvqLQ3SxnJv9r5zJhBwisAcxkSZBH0Xrc5GDOx+79dp89DuaOf/d7oHGsWMULMWmorbfKOANJWD+6106JSj6wawGfe01pDQtWe3ZR6G5psTIdwslgK/psO6DNJ40/U2FAFb2dRv068KJjczhWWczkGVPo2d8+EjbOneRmNqo+xQFNFJtJrbgw7aDyfAlxF7AbAMGFti2I/fDpG3NyTzQxl3109fnQ3Lk714p6QaaR6OBlOrp3iCEfWkXK2jBysl/nDRXW2+r7/qywdLtLHe3NiJRK5pjzgtiuVzSMEjdcJW3v0zqkhrruSwMx6jYCLU5weCx+0QMCwysNtMSHP5JsUPeo7HkMKN5T4m+c9bzyf4olnhF284WQXMmFYkeNPG9l6zW1i2GPltwiGRqefXc0DtiOKMFqqFDs4uZ9lUNJQsEHH5xF68WuDWiThzCIRZGD85anIf93fNnV296XFWoAfUpW4OinK9YkdivOX10/xhpalhMnNISolb4aaduxiq92SJqZikfL7xaBm7llCw4xT7B5ptmRu6HELfvtZbI6zhFdCT9tEoNPFWKcclJVxRlW918ydW69SWXiFfff8KMnNNU0RnJXlZSwd2xJRMcEn3qTRywkbFqX8QT74rsvdrrWKIPOguJvWx/96yxep1ghVeLCRENN5ABloxwpldqHHC0sY8YOUWfnk1u7BxGOUtJg7AkVVfFQVQ1dZqK+xc30W6f8ttixjRCCF4hpQKwazvTz+o1UCfBrzYtoOZ/R9jlURWe2mUPMWN4Q7/IPjhVJkRaYV59hHxGwr6EZvFc4knGQWfhv5V+0vFbkWKRtNLixiL6q9aogHDasUhgH2vdly87f8+MOZrdleVZVkDz8gmpi5lEUtuT3AQG4hQt/N5+wPdNGob3wMXLFiytDfYf9MKeryeb+omNPSSOsZUDIz5xXVdfAK1H+TWsHECtkp4eEEw+IWlP18mbLHtYlSQa4NzDzXiQ9NPP1UmolyWTYz7kE45uu8XpGUNLS+CbnMb24ajG1Ajp7EPfiIXffsdugd5pLF8X2RedKSZEMJFeG8uaVo6v/pMI9RXBErz47m/yUSoH2Bkk+As383FVhsaAMgot2i9sgAZMxWzplTAp9DAqwQ0hgSwJb/QPSWNgcAm9+cyJAqW7Br9qrOwtpH1jhmxr9QCfzUJQvhaC1ueCQIsm/bNIt40IQQlRMWIgYp3xjY/R6F1eLzwJn0agFPsoJK8F3EgoRfCclA9b0fm+sphPz5PupGf1LBhj9FRuTbVFLdTdn/L05BCsQ2GfhlLp1GjB4lY1ygUrKwbWn68WXdGdqcGVPZES3fJu18pLSC2fU5skafY2a9YnAfYxFzNV0FMAxqt/SivhVyKXmlwcjielsDHDJkpq1/RiRdI3vkwpvRgcFL6E5IzIwOdocT9sH2p03As+Gsaufl3LK9GpQ/IUeWB7PwduqXsU375//K0RIpdF1fWR31O07sEJQ3FI6TZFjsVWQsBssL6GAy6sgWCZkimByYPzuZQhG6corOLkvOpFXneLg7i3s/zBp5xo08625FK1LY536cxdgJgfoTwqADW0Y9LDL+vNLHpP7kzTS1KFUFM5ursk9pqBQWWvPaKmyBpsf+QKljaBbm+cY5+/1gxSFYaFmFzXhPfhEtauCGlO1F1/v3w3AbGIb2PnzLYOhgFPfeJujawW6CZqkGKdGEpuB7rKg/jyA3vIzZ5mHE+ZDG3EK1Y1GVVuiSDwmJsyP63TLo1DbYbQnmhsIs+ronp3Yg9TsjlOpVY/+mTKVuCX5nxhkaxOnrXVS73A7NC6wSKhrETNSNnWbC0A1SVSGPjSvaQuvecq6dJGIcW2Qb3GChNjSZCJLpjFhKJf+sf04In41cp6PLjvcyXWKagLPdItjjstZ913tntVoeMBfNNjVwQhpMKjHASPVnuvWB21F22jSz40i4cG+VH8Rt138+dubjif0P2M3kb/3yNhfJxJRQ+piDsrkHaMw3KT85tEA4acJZgVJmPuLCRpSpGwseBknjzvYyKalFJcMyDspGzLBT/1GQ9QAS77zJOeLXX1hVBed6kqXRLS7VrRpJoBvD5EEmAywJSq/pIJj5gUwHiEh/uooZYkbNMLKDha1fpcFO8KA/F6LtJEBgq960jVpEcDXKEeqvk1gMbHIjuZ+O9EbnJhrOHhRZUVuPac3DryqFjVeQYpzIG17SRbStkLqsM+7AAQwwKbUc5bnOu3wNrWgd5z+uOtxlH/9acM+ZWHYeUkZ8AoPKOJUOVqvazZkcf4/xhMA/LL0tSlGWsYD+c+o3FB3VfUBIMTmA2D2qw4YWaUdIXhR5tkZ5RcqxT8EIoXLKsOcFaC6jDKKAcuJJF476JkSv2wPieAlZ5bsF89YkSpkF1FGMmd4Ku+5GTCx8pD1oPcRdVbdC0UXC79C/itIxBFq5CeaMP4Y5GXmEdzRAmLIM8WO6sc3A9Tn2PZXFXotedigdeufuGlgrAGFlUGuemZXbwuPKaxM7bO8V/we/7M56XhqFzVv+MqVMdr0qAabdhFmhwtsg9Fs2Yj+k7ND5WqjQJN+3At5sUlF8wY0dY/gT05/brIi6QUh+iawfaMOcOBSbG48LGDMsGoRDSF1TrnlQEMdFiRwhFrVh74mjtDSdKWWhCNagDoM837S6JprgjMIlnz35YRaiVpq96C41USDWvoUjz+B036Qrg0E0MQBuaEGf+1i2dOCQwOm++22g2orEFBh7wVYXAVLYptOVBl0EjJtCcAZqmfBoEN3fpPvmhaaSEHUSLisg7wYS2wW+6VaLWvyAYM4v4/ujZJpbTNGms7XhNbLgFRawHUIM17P8AlztCv8jXgH1QOQyTyZrCSLuH0soLbn+HgU0BScU4qvp+8MVpjn2zuiQvtkwV+58S1EMoCePjocffDkveNySN0mYFYEmvMhnlxVRJ6xfp+tbA0JiT4V3p6ulzvxE2wbx3KWEHcIMI5VvOgDQisYunmv8g8kikWglQfcXpxr1KXmutMrqT8XanbixtVCvPHRp/Agrzqw45WOlwpfWGPGCuhXOErkvDANbnf4+fmSzf7JtefHzXq3vZdD8uxKIY2Xg86KSi+44Y31VJEHAbcOvUfOf2ZYHajjwJV40qD47/OHmqCrV3WFun8h1t7nZHk/KMq6C9aU/RBGbOm1IHEPLVl7miCkpJag5qRoDna0a5dFwTdYyyyqm3w4nFGpIAtJx9Z/kDMIGmFuJ8KmqJvtKiGtW4ATdmrAJ2BtfSc4Y4uXSJMTnyqodtNI8TSGo2YTzGlRB+5clogUa7FaXCBzhLPZlrmZvJZo4rFUyS2t1jPYeSe966yoEqeC+C6g8J+Cjk6krgsM2JRrKU/Exhbtj2oMiIWT5cm+3obW5dkmLze4tubrh4vGpFQ9dH73AJDAsHRlKOEfhladtcOX5YhO1mJMFUVLy2KbmYU30gA0hNqIDWFS9yNCudx4n/JmvcXsMvbQS6adPil0bDByFdvZwUKHlEFNGbtkPguoKPs75imQv6oSFOy1TIlhIpLDHtF6WxL+ZhY6SN4XxU+Lb9S0QgOW+G+sMUYOqv6EoHb8KdqhUgGo/cAzOXafFYSMDKn6pwYTwrr43d5zRlfI7A30TX3VgB8HzDmPiIL86Bxth2AiKXquZL8r5y9TWEV6jBjUOoTjzfl5UmKuXV7wTP9wZd7z523m4A1KnkM2jqBMX1hY7PKt1LEOembdwsaB4FqV63THahjCItobaJ8GO/7LXlmSuYLNbWwTTi9um9X5nNbjB8b2T85w9mepnRmLK8wO5BDIHSBKX9hGLETzvOb9ocYHZqFPriaQbG70j+IQgpISKMrpm5W5/y2Bfey4NA39UdzTJUrJC4sny/3McGrzbyr9GtqPKRZWArLB4QBtYcYX5ghFAziYemWIRyvjaGHSj8qj1PU2Dc6ipf8yyk0piRLpfIHnAf9InKvjTiaTmskLLj7/6ddQQ4pMiBaS1LeEOoSfBnrUPQIPMq7sCZVrERXx+wdhVgBllbbKHiez6h7jIBWJ4+c8N+8EBxRlV+dq1RXs2/Bv3HXZMLfGjSouHgnDNHG6wj/bU0H5UWzeuOYT/Zw76kbz4AJjcuStM8INUzdE67JpeMWBXQdXX9gE0M0zWY1J1u92xoXM7x0wxdwieycFE4ERzvDXPP4BM4qBkF3uzPY6XJaeTb38jb67vndiPOR8dPH8/wlIZi9W/U7opI7WYIG8yLyW8iyZCkJ1RDqqQnUZ70bYGiU2Fp9MdskhQP1EhCjOMWXzjkTqOz/DX30qdPSjArRd/IhjTlXV+1DjwUy+4hVkBK8FZjtz+Veo3X8iurUNZSFD7fJQOEGRnM3juOpdm+pzvFHV+9IpV4f8AT9itvaPuIYL6yKAlRBnXR9soEA8jLI97kJXFh82PGRV013gBKEsEpKh2o7TFOLYIE8uRqz+S4XnU1PXYfVNCGDyjz1hQSl9hltdI0b07YsIlzoMof3AnP0hdHn09u63WLWX1YY42LZ2shfislSQ1pufPuQa8hrC2dHv+Iu+zle4FDjevRbBZr+uoU1DyD0yxYjiig3aGjGTQogtBP8NNGL+aQZz6hp7u/OJI8jrJachSyE/O6KQRxp534Fyy9CBbmX7YhU75hgrkAQg8aJVMYspXdjPPjfHCHVV31bgeKC2EDims0hHy0SNmOp3EMR/vOPAN0gVonIO9jo3i1Q5u8cVgYKk45RrPWMvNZ5g3jtlStgx1rL9m5rmnkhdXi2iae79GmZ4WC9Eg1U34+WM2+xo85C9lJe54OyJFdFn5rw48NgXJVC9JXrW2CIF6ig5ZY1aXrhsTU9ibPdyeJGnxJC97VyjCQDdxmR2OFOtNOIzGnwa+6mTEW7GA8vH3YHaIIqmNB6qu/srGx29OoGew1qnjlQa6IDdBe5qT2KojU6zU9ImzsdmMdiIoic1abD/uuMPIsGBaHImutZXa6d5B54zBvvEJLVID4Palke3BxJCGzGGglQPOz1a0VX9zbKVxa8Ol8H+DnJFfJzfl2RAn9LuYe6nW8+eQemRP4SgzjYyn6RZU6JJfFLbpAtQdS1NdhqGLVFPt6/+CqaFv/jxJaXkZG2w4JHnqAKvLCBvjhAbk3JiinJHOb/olYVvEx/Rd4SDflE3+FOlSsbMmxgTW4+YkisZb0YWokrAOVva9FrHTxKBF0294gUxU2S112ZEcDXwryiZb4NCCAMjiiNQZZy8V4F4wHsHNdalT11C3qiPs6BTe+NuDZw+eiuck01RgptfQkoKfVa0NcajGRAWqs4EtcOJwikGaNgmA0wjB8SJU2tRPsr3plLAuvdN40Yyi/D6O5/wS3gA/6YiiYTLzAugIf1GVgutZQQZHvLl4hU6laSAHyOrii1g8DWzHFtEnRrCnCODQ/vYYBxO5qVxE39J07u/0S2s4/WBRGCbdwgcRISNN/OtDiArSZ7ZAYecAfaSX4/hw5OLmwYenQJGiCqYkXMpxpkglyYSDQnYzvhJ5bD7R28oTz5AK0vdJ1+IucHnWuCqhwySi+DpX9CGJSLS7JjQJbpPFaRiCjsKsxDsuxffyvrFmmQGrof83s3rS/B/rUAHhiF2bjlnx48qsuji6pYEOATqo5epbax6NNDPHQawqgsxgEOAqyORWoM84VjhrL5bZ9DAwvQVni9mPORayKysaZK3BPywSftigMgPcs4kFSBOi594sgWD/i7EcFjBcL5QGDg9PbuzEv/1RE5opYkWkqcT3xRuKQsdjUlQtf20NNrkDFElO/L6HHeS/3PehfX72U+cy2qA+TEH2D0pcENZut9bVHp1hpOm1PYrTJEKVuRX/BC7DV4v6HC3jiHc7IM6bESi5jn7By/6QH2D09y0+W5apWLLFbM8eDiLMBF72Bj2cX/8NrxeSo4UNqY/98Lv3sgDNDUm583bowdob2G2NbPclYIiZ3CQ8+CwVMThnTwimQmyfEfm0Fq60DIJWjaFDUOBFVZVlcyyD7PHPwuMGakTc3VDyqHTJUTh5mJ0MMxyY66m1mV9KkfeH8s8JxO2fEjIGgjqFFy4olx9XaG/3i4Y8HowGIGekjEIMUya3caXfnBF1xngb7uwO5rFwVKMeG6YtWly1/XonZREugxvIgxktm1eIlzVAVy1sAkVN38VjP1PdS00MDASWC9jS8nYskXrfhGv5e2cUSKjHnJSh0CZzsATgN5wNoINhsgAIIbYKEQb7Yz8KChj7yZqn/xCMzpe1DWGf5OedH8bZ+m4c+/HZhzpxmcXz4CuUHa6j+CigN6jTfOQ2uYuRSF9Hfxm80mUjjHoCXS04SvmclSGFQDwu0OI9RMHz/vsSieF3C+gWo+io1wj/5lYTVOX0dZ3Ku/5ORuzsjdv2zFJ/p6OdE9lRHES0cMCIh+PB9X4OeNg24LCnGEsnyBwfRr1vz3XMJzBsVoBDnR90lCM/Zou/WDVvfWiuUQKgwWbCQNhPZ8uPsGXsZ51RfaRcW7iTn8vD10Qy0xCnXuUmKHyLWSefeGkpl5H7BtGMGj2dtRq9RtJu84u//PUChWu4uHI7SfwVzloVd3LyirGNvjYN1jMu9pz7KJ39f0m63inTBy5vMw0kcMOs+dFVpiwhBCIQvDyu4E/U1gWSqG2ChhYJJcHY9Hw8LKF71U45x5W/H7z77QJSt5WxpFYEjZ+f3U3cpA91YcgTu3smHoEmiZTx9yLTypEAEdaj7kP3W19WZs5hFGcITsv27CUCz2A9iCxtC/fYZ3TT4VdP0snBto0MNikDVhOEmijfJX2Qp3YBI5PqvL4pOtBdrwrdaZKf4aq/MiRZ6rYMsO+8cKZVFfHS+8i0EweVaxMowN7sAkoKiHViL4Y74zcaTKtDdC8tfiww/S4iKv+7PYJvFQhsw4a8qTfQVQhbLnis/GC0XnNrHRdg9+PVFKWKkX5txcaDU/UYGWbGA8lOqfI6aJzV9YVZRfuTiUZfMheMAX0ZtvWKrxIRgWwwDKsu7YpUau7yfpnx17qrJLfWLWT044rRnBWm2eKAv94+45DJN4NMMEZLwcg76DmF72OjBt3F3p/teD4W0aDWNphLtnyFzLVffrj/hy36BKVu30MkWH3uuCn1bcZXCrkaD4LHY2tfuWKy9brknPKeylwoCv99xbO/f0AKBsBEYaY6aWyBt6y64VzGclvgD/uaAVw41Gs9fqy8kUDjdQgj/CiwFm8AaZsQK9nRCJlbeGMrTIWeDU4MZjv69E6Q3AdMoBiqb0LpumtuL1vSUm+wZNjwhIX+HzcaL2NRJe+g+ZCBU9BUHYvSW0GFAuFCLudcBe9uc+Ebv9EWD23CESApXqEX+wwHMGfRZ8fEiUmDjca5I421jfWqNFfMdJ4S+NNS9dNvYSBVOfKhjGj6DaNSKa4ypSN3Ujw0PaKOovByieVPQZxdmu8c9hVp4KoRJMCZ8KvUW5QFK6YsgH++aayGX/5o3m/Ciu9XJqK7aDkI2a3LssV9qoUajXv6QQxEWO2vd4UORq4M9my9a7LJrux7/eUDvXLxLHdU1vhpFtsz8bSrRUXbwC7tyIovpr9PnohD0/aZRktvEvHGKDrom8y+DFhx5F556BNP9I4ubupCMca8XbTAW+tjY85aBG9YZnPn/LCOENHIo4QGUD9h4xtMAq0ITVhSy78pPYkjFVwUu/FFRAVlguLrePqYTsfA3OqJy3sL4K2EkaL7YhwCriDnGwjzqfJpCXnNASr4PXOlIVHkQngiKjv18qTn9glY8dkowAHOzMZ8CFc/y+MXCk09pGRzz/kl1g70s2xjAcqX56ri7Y2+1xfhMiWSJtRPaI6MehVnsvoQGRwdJu5sh/RQXbdJAhe2kDMJKqE/tkve4ijkBoPl9nCFwvbw8nmaWj0pRiPvrZIn91Pa9d11YnXjO20NTOETcYz2pFG00A2ywS4D+dOCeXNFIubAaHWePsvm8PJzNxqRE0jK8gMvKk4QllpAFT6AlZ7LiSF3UcG1tCeiO3pkKC+fLiglTD8uzgI8Wk+pwgTWK3Whg8ljKoXZruD+31zTGOKuYLiV4pX75cj15I27toWB6kiPboGkcjxAwDCy2Bvn7xWJvalrhPjpySqjjdm21c4Qxp9S2VnYb4AFBURy2Qn1OsqnG3SKnHZpFp4aBQgIhDTCtoQLe65mOzycSDBJnfbvx9XKkaYEq7b+D/wbd9GovoEjlZQOLmVcs6UpCLfZxcpKsiJWr55YjjQeMpSIpJu1ougdeA29bYqPW7Zdy8UzbBeTcKV3xSM8O8MY0aSY6HNbK9Iri8W+Ibt71gKAN5DoQw7zrLo5eQMiZg6q1JSCoA/qRQxXqfqCbdlhK5DyXJJ0Ew4HReA0SGNu8FtFxMOCEndH7BdOjBYP+r2eGdHyfBWogXUIBP7WVb4DqOFLFbTt/G6th34YyLOd+PjUWskas9k5SZ/mEOG6oh0L3HmxRZo8C3FejIELpJ8THpCKDPJFvlofrOf9bC6hshHyKvxLQwAv1axEeCuIaCPyNxvceoz+MVCUerfK/Bqd06L5cF6ME3z/IpMwVaze0lbB3h+PPRybXYh0OPyVoiKVKgNYMaIS89ErjvR6i/xGnKmRBbzNZ0RW2hxkh8H8F3/sll1GqQnt11bx/0kbAOLRZOf+Y+8T8jIBQ9TpXJZF4Gk0SVywfpsB2Ljio9Sh5bxNHr4pL9pTmNSbQiRk3M4kVTu5pCO8KdNHYmRxt0dO/nMwZViVO4LI0vWpNpPPJOcEBRmj3leVG+lTXnforpvlu1cjBGKzU4mX5PwczMdwm1Lrn2H2cXFd5bvY+FPRv7rYnYcCgyLqCOvfc5RPbq773F+5Zo4XIhUF75Kmd33wPSDyg4PxMsjGB9X0hcq9tpQ+mPaVqqpoCMkb9ksqULxilzWUsVxeARiB6QIDQ6QYlFmeFIzHCxbMIFO9ZNaw8wi6mUr13/tm5lznmg0CaDMuOh6ur/fIn7+4VPLAOIAnarp76gbvlsTG2CBYQT2MBNLVznd/rmnW+WMSUXoyxdK+9Nuss0ySvOqhMICJoVJRuQ6Qs4sMK9SAip3yeoEFkRUfaB/wYxnK67gQeQL6/rgmofk6skW3uCtuuOktQL3812Ie/GsFUAt9QniK7RitvfZWKhUmTZIznoC1q52+pQBxDEtDOEjCS+toJkZRZVQJaQZBSjs6d9K30OAe2LGvXvZx5+iMLctauEZsI2zMwHMDa6MPpYDGBEm45zJktsIYsS7PSLxDAhUbXy5PP8pagBizsMRszUONiuD7GMqK5QzuKrq3lm575dgc3Rl87uScqXrIKZtn06nAzb4nadfarIBJZF/1WcVmyNbN/n+rObZdkjBDSOT1D0Gbn5UrXXqwsz5JD764Rdz/weJi9a7yMWNpdKwJA4iu7j5BLXl8i/mBz7OFu3SQOZAI20JFeGff1QEZKO2J6Q9KDsAKqnwJh86wkt7Mwk1f8EQ0+DxVxsef7uNfCo94Rn9D8XkFRJM8vZfRSnQ2UBRHoLWvq6ngD4eF7prAHgj8XVFZQ2XOhFABVoX8tbNfCtwZiBN+IcBRybV0gyNMGN4mvTfwgexHV5V7xUoZ06deYCI3QKdX7efdE6janLzjLxA8yZuAFwfmyG4Ho8YLFKewr46371PskPM81+rR7oChovXoshGjDZBowCfk33MUPfdlzhmun0o3UlN+9VSEzYqyfL9P0okzCMEXajfUY7j3/ciB+7j59EoB/0RmnjuZ+2WO86xODu38ji+vv3w8bVpuoXWRyiCEw4k54rumurvqlr4S7bBicMy4B5dNHqWDYuPA/z0KvwNV3K+LVGFUWrY4sh/FgQpUY9ds41+UgMj43aZ5IrNJHMieoOjAs0AB+QaWOv1PFIm7qz++cpGHIJOcR71cnn2xW6lGhEm2xdoY9lPPX/VpPMyXrx3f9FSktwhvnzIYh1rFhB8DZnboEBWKhmBFXC+uPOWkIM6WE43GabKESlAOPk42iUJcjYKX36n0z2exmaawbZF392/3WLvwiGbZOYxWoyxPU55LdJsru1G0cdDjEzIaiP6JW+ntejIeMXD0uhHhr/J+rWq0hDoc/ATkgDDwza4rZvZtN1xn0pAqkvT2t8HQfQq0+7D34vf+S0GCJfK7oYyPG2PWZlnSH7xvY5e9apSPyhqDLNtXWpduzM1+B0RHB6nbKV6IKnW+fetPUJcN3g0XQtyhiAd163ECR8/8yitaiqdsifoio4OvkS4qIO5vpcdGrlJEcYjHHUqIm7ON8+hqzCzCnuqddZ8DqtnaTh1Nt00/oTpLYjh0O1/GSB+27d7+JNox0KGnoOQZ/Jbwto+Yw3fBqGk5XzSYhUYKscsppEzKmIsVvQ8NBA6ONtvN2rEP1Nhox9HM8xVKP1W694dl6kq6CrKvNjVI2FzNcD1ZcIPSw2QtOJjdACuAHSDBMVRjlF+TkE8XLbqGtjFaHVhGQCFK6Nhndb6N5fPetOHq/+y+xz0bipoMAj0Th3kDIt7RdO+0b6JC9qlJUsZJ9OHfPm1PdA+e0UqbmFceQOuncKAExbhJSZ/PwyYvCJ6BPEM5IXcqcyTD+57ONELQqGgWQ5vvVLulAtTLRWaZI1YM14r16uo4j6maWrGPKEHzCDKF+PI7d3vNZQdU1kjUhnsXdv4doUGNJiTKndncdbL7KbrGttKZ6B7tfKv3nc5YzWebOcLRQmzw0qqMr7SJlyBqkJDW6XT+W417DS3VuU7xk3uCImKgEZ64jPMeDYvFuPAkQgz0hWnipVM3Hh8noiyNNcYZa2tEiEHnqEbXe23EqDx7gB8fvzSuyMfp4+/dmJ8QuIM/ygFdALJ25R2pMK+UZEawqaHotRJ7SPGcU+FczSV0wN5c0F5wc8M8a2OjTRHUmnSobWzzMjD2xLV4WFbs6PRHjhbsqrOGNOznGRFaZoYYjNhW023naiSMWPkIhpXwpI2Dn4dLSZFcrylzHIXXVOxuz9EdM7tUoSd6TQEAN/U+sWvwkzmxBMCPaezX1X3pGTG3ElQHBasup0mrM7BH8DRkWsLdwkm4jNxr2K9luCQ97G/POtyyyJPdZNi20XETHxvkICCSTElQEzP6V49X2KO3IQqTKnBa1QE0giwQPzvcHbUflDLcVF2FwA+QG9KHK+xrHvHLfZL9C5Z/8aubo3Zizf0FkK7Fyofk0Scpz6jFWe3URqJACC4wVyfu6vvORNSsz/6fsf/9Cv3aYmfG5r3A3dpUVtpqUgMPg+DzvKkx2jwEwafMNFHShzLpSye5EDM1JmNE+L+fqRa3tlxb1FOjDe2FOc3xkyeLYpWGLugBt/2KIBrGofm4ahNv4ZLlX4JUbgQFj3TAK4SsP6t5rAMl7aSXyY3krgbivq04k0HKf0xNtDHUVUdHUdkndezEKK0pSLZR0u9yPKtPDfN8JgHQbPUnn3aNdIC6erbHBuNb3H9BwDXjcbhm01BdLDfeE5U0XG49mIkukZyhejKGAuTkPtEwRkUsH0zVw4eSWVetBagmLxN5rHJWM2XB77O3wSvrnPpvsI7zFaBOxqeJscR2HhevgI3Wm4oPx3zjbiECTFcNQe3faN3WqN3Txf6Shq3VmTTFMRYmO6/pyynGPIHv/e4gfdoNTaEO98gcS2RAXBpsrEuR1ALR2UDS9TmIJ3lneqT+pMhmx+2v22Sbe/8igkfklJaNAonrydXjg7/xBEoTSup0srPtH+PdcS0/qxYd4NvRSi5a+/KA6ZOP4Fg/ZBc2QKQs9i1796HGx1/MrMNGvkRaRdJapu+sWwIDtaApHg3bdgo5muuqyLfr0TCltMqHWz5O4HivitZwLPXnyjM33uFZYcZs3BZZcryIvqPZlmNdcg77uBG309qEfoNiF0mMPfJlyCkvMLk+uwDHUyZg5VnL981RalneFLkpgTW5+/LFwAgn79Jt5MNBjur3TXr4xrS5p7lLzrKT3xwkc8WuJ9OE6m2KFmMRhWBAXTqV6bzB2UbiGV0cyhhFUOOan5RT9nGsr72OTRuCwLTVm6r4PRXMra5FLGpBH+LHpY0JOv/Ka9KppZJH702BXVLViCb3hb7GYv5FgFsPOA6gBdCYCLLKWHE0c83h33vAaNlDLatKaaV/Vz13Tb7MDjdK/moBZDCwh00IDK31A1OsMYqsRlsEjB/ewj/r9AprpzuWfIaRI2QLqZ33JwlfriB4c5aCePapBUIm8jQP5q3xtGwnIg6HewVy8qyQ2GqhdhbTfwmSuVwTE5CI7raNSHWcWltK82xLb292iRmNIsNbOZO4ejeWaLkYhJMsL7rcv4iCBMMIHTPpv9B51eTOLf9yci9Utr8AeXa1RumAhooFEhq7L31qKGpVAF2yDLjuCvgLeRljCN/b4j1NPewtCZKHaDbg3Q63rICyJUfB5ti2ddDIk6DbwdNYFmoJChyVjUW+RxOZSjw1zlRAYWNbtRLEke36mLioMNpvkChWLiERHTjM6NoFcQ7Tv3F87c7hu8enGY3z5owmU9/cMWFnr4zXElL5I9K7pjvDr+nl7jpHndAwNaK35DVsczyHW28E92ku2px/UE6pJUIa6HcHUPnzs7qzWdwdLagPJNRe1fFsEyqoAPlhSyiSeadVXBE0MIcyrZRNtZXl0nRESlPutHhQaOieeNTMskGf5FOVi2gjf7l1KL9/I5v5IiNlzhTN7xPU8RkDGboWCPhMeC5Yg8E0m2qWK1ouPdDnoY08NREhS/Sv3e1CGZs5DSvhV069INblOwtYNHhU77pnwqmz+pppVj8/8DXJQ85jsEurJxTY+wnDT/9RzeyDbx3bAire8G9gcZrCd5oHN1VYFWEsgj3DgM/ZCfFqzzQVWXKMZzjAOAPviqHuDMAIRzjm8Mxot3bmPsC5Th+MhgpdmLHCIX/7OU0Ii8cHLJ6MHmWh5v4STscTFdMAal4EGWoJrC2NY6GToSCYP3SVfKR6IUyBB9ebZdTBAkfyqWe9M5aLvUZg+xfT1DHhCnFhSANTxmanCiJeH83uD+jCAFK6m3B4M8zHXAjF/jFOkpW+ci78uNNjGuE9qUVQ/qeS7I6SRAoxcrToe1pPWH59uKn9EWWIBoRVpSrvQyYKKlk0XEbVGsuGG0GVPrGGlv5Fs7MbK2+E0gvrlZ5otflDx3kcNqT7HfDIKC8Q02FHd0py1aHClxsViN5MfZOOPcZnXTO5ckrYgaNSgrDDwCoguyX59t80fHCJPyBQCmzOHjWTEB6mboTu4GymRb8lZBIxJbdQ2cBmOgfngZgIuybEuX3GljoDy9ysUbojskVOC0ca+Ob71sd9tgSXJ8LOODIiBpJwLEugVnXidECa2qqCr0nH1zdSCLH9G+f36GKGj7+PZMlSngtHS57g9NMdKQ8rDjRDScSlcM0B9ttl68CBph0GXsfSxoQCcIhVY997r2eCydQ7/Mt3NiASOjywkjJB90iY2PgcKvPRs8pKC4nVT0ql/mLnUVqW0OLDKifXmzD1r0dykEjf9xHFce5fomK2GRSKvpwJVhzx7xKpKzVga++fwPJqe1wBwjJY6J71gvrEe8LTVDvfVeELo5/ylpU4/tIJFJdoZEmmeREBO3a/gOLWOA6YHnq7skpMFYyhRrV8EthCyDIYhFcPsAwvbZLbv8IEvA+OXA3+zXe6yjeUDPj2LPZYiW0IbGNZGSj7iGM8UZuFGbpjgwa3LX8YDpgg93XxoCKMJ6UsB2AK+T7/Pek8b5X5HaA54IdiBx/RqqAWWI6YV+CTeMvghw8rS8VDT6shvshNT2lqvA5L61j1MoGEu/2hfgQEBQ3ZwRkAb9liBNrW74Sbu8tiK1xQ3oQm/VMAozsulQLJdGosNWAQX5qbea6Bjm5C3BMV3p0Q3oQPwgbEKLFyNjuov/hYv/HVahBFmUZBt9VskqgnzSYMINnKGtLTeoHsZsZipgiewLq8O1Rex0IFXNcqpIvEyKFt2apUOOjFKFXYcXAtumt80HI1/UaBV92Se8G780vUbcc/JXo/cSO/bWURrChW0016DPKBnYvrDVo7Ywfe+cCii6v1VQ9EOuGVJf43sTkjTdN/5/oXBtwuSNcCPxUO78xqERuEF5KZEw6JbSSiXkN6czK7HTNLwDXnTBFMXZL1lXf+Ml0ALnjp/m3UJ/5WjW4YPrZdvFewYCLjXLTG6bJm7t26KOOePHzRbtie1L57Jh7dyDJNOMv3KGid0k48D4wChSmKOVMS6UC8qw8NMLa7O294XT2mixxM8ucKdpgcRK5TJ8dQe8mIBq5yd6UCsnPhVG1cpXZvkEIhzdaPKs4CiVFZrwMI90MFoUu0avOxiBZdM7ohbdHKSFLw6sAzyGIAT654m3JUbA7s1EYPOKb5IFfx0GrUAEt5eo9zkxVYBCgArX54vVz8o5ZzFDM0jkEiHyb4girq+SGD8OPKmIQjdLSFgIJl+XOOAdO3I5tRuCfVFTBd+tw4ju5MDde2VncpsK+hu6EehqUzr8QjFQ74V2Zde3ToznxiA73FbbhbEyWRZBRtuFtXv6bEGI5/edW+zab8ZRjXj3kDhrHjveTOcJbEZajunsJNwv+ZBecXpS4/oLwFlUbMYYeqQX7StSDYfPfGg4i3iDt/7Nnw5wBK5lrEYsckKDjVXcV7vIX4g6UGuCo5HB62jnNz9Bliyb2p7hndYvRxLK38GQhbOxCL3ZszqpNdecRdqCDHP5YgQqFrEIY66lTQ7vCSTBcx+GvujiwOefgu85YIMGBWJeZQRMUYIQ8yMphPvSFmSPFA30MnpFK+Lkub20fOy/bjcaTt82EaUwKKuOhTgXhSc8hD2ZYB13tMpE2MUUD5PxXehCw+1C01jw+oliSk5JoT2E9hthMpp7oZucVOZHsd5AsmJPv+EQHS88+sM9j6qdAMO50FIyp6/07c8yrWsrtzM222OqEmkB1i4B6k9K8LkCS87IQxIaS7F1fVrx57Fmax+rgwQF+MaJZWVUMKjSN4JkFqkZAareBPHxi67KC8HDoogYVItkor6XtyyfJjr2CVTBvt+bZkU1PExQdMQzDAyubbtHNep5nlxJxfzvyvZ28V7ZXWZ5v2yRBVWYDH2IdrWrMkg4dU0RhgSbH8sZ15cBCilsQTXLrGQo2kHIDoz23/2EwiSzRdP4r+0TKjg2Rqv+JquC3ijxoxW9ckYEIe9FZanpQ6y4lbBWEVmlSZsKzTyhMa7uVUqTrRIlucSZ/mwapg/H6dja0opYifjnNV8CORW2BU3Mp+/jMWhiVoT20qonpUQYEj/nqldVv1gUSpu/mVnGjUgcAnuBwGhSGQUef/Rb1yJL/9y6uEKO9cg+XCapIirbnJ67qV1dhQHtULvTnIc7B39aPSYc30l6sc1/VY/9U3Ik5puzDkY0ZXY0dktQfthURNwNq/G/y9LcQhUTajMokcUiXv3E7Hfak3hg1yqEECjx3c3YbVUVxCajL+drcaZPo9Q02/YWcFtWg95XC7D3Y4xXiOwvyAKORgs6MX7I3FGW9RN5gfsmPXwOcI+owsHR9CyGswIbOm3kSO8pWm2hLMa/L0e+9dN+OSwGJe9Gj7r1CVkqNT9WF/p4Wcx/+sqKD36vSwxtWgWv+nnDDviQj1P9UZtB/IIWnxLRcLWy9zi0ic9kapo3rzDQ2tM2voW3hqdJCJ3oFfYaKdTQ69vJpL/q8hfVcS9uJzvr3/J52szMwqCgO4WVUZBGfBjQAgqqXo8oYVEvAYiyVrXAMqEo9NKzuEg5CBNBT6pw3Q+h4+QyAPhbI8gGBc4TQONqXwA5hLD95+jc1jt1D4TtWvT3TRreaQgODU4zkmSve2310A7WEmts7PUkFqaUMqg/Yxl9xn4YR4FbSG2jKTsfC8gh0jsiU+TALMG9vPnB9jhZJAwEmZqemWi/6AXAW6H9C25aFS1Q2LagQ8k3eFHRc1JSAMA8uCUm1qxi5IFgXY0AfBbo4xtZKdzk3EpLSYlUuiovpIoHNYHi8ObCHWdG0v0+4+LPBBtwVDTuIj8+PfkgQY6DI38/wgTU/uvp8UenFNVT4jU01B3F80uk06rm9OJXRu4AAKZ4BELTJl70PAIGQOgEMRGFKJTaoXL6xyFdZ62zbMAbZG+6ufER/bLpJjwNxBYiG64+735Nonr3fxtYR8LJvUzzxEuii4QxCxFtj29RcALWmGTm6Uab0ygbAuJBcb3Oy688lF3s7clo7uSQxlZb8n/rt2LN4Y7FswOH6HX2sEcyLVqJvLpzreeTgZbSj/mR7xKbsWJbgPwcobFSc3G2dEQLwfUt53EsocLi5qWPDPyPX6f3vlN3TKdsZVwwg9QzOAKW6jG3ECxBt2YQu9Sy8JOEOmU1+UfBF64ICd+qFPuXuYNpXzjebwHVjfwePSQwwUZkZW+LCnXAmEKslefOWaKOo/YKmt2BX94h6IbleVSTTYpGSBKTrc3HN3q+syikkSYX6bOmP3JFJW5Sr0OpTRvXX6vCjoh5S0bTs5KahnwxPKzTpfByS+Y08Gn8zVENcGTFPHv4ZZ/qonE1RtFFs/a8WB+X3aE1zhgRvT0ax1LUKnDT0RdaPrb0Gt6NiD62aIxCV1LwyPVkjz8oJDyiimzUyMtvfZk2Y1ge5QXbVFbHcvbHl6XR80vRUH4nkTVELje3MEi9lApOaTdgG4Aj5YUCjFSQVrsBQKgotxwNh2qFXl3JjpA18TNRE1sTgj5w5T9s2k2Ujw6FA7fC5xdNp6Mddkr7N/fe2KL/NIyOvKcBQ4Ix3prgc+UrdG1/Wm4tsbSgziL37O/OKbuoW1FvKL4PKQrQJPCDPHNvwbikBPxjgtU9H+8+Qk7ne4FLzzPRUYP8LtHsz6AZjWtSZrS6Kjt0lrdf5yuaLYM14xTXcL7ejiMwupbWAe+YwpLGBzMzsQw5imgHK2kXcyIj1hqPgYoIpm6avwjP0HBG/g0s1TyHwpHDvTf9NDdZ6L5YAJ5vk/XClXDW9RfizMJPj5Ljjl3iHji1FIo7iGeuIxr44EqtLe8uhgK/nJsaxrZL0rkiar1eyQQp4Sfmrrgp70j8RI3eJrUMG2UyIhcdRXEKtoa806ZFeOvz1sRRGK9qeKB7YX/JzPjy2yCFQTnsxZQELaKBOkB4p7ofn7kgstAgHQFYoBSz2FifgNdaXJhlb1Iy393Ph/TInK2mk+h8TlPDSgYT/BiseqslAkUAffsJ8qarUClsQWjABnAf/skKfW1v0yZVP6SPJ26Edp66C5vUB3Of4b0BjbBIhkqRXIvDQepRyCro8zjy8ndHRmyARc7wFi/hXv/4gZUb0mzlS2g5XPlEgyF58MH5MtYt/798ednVzGZnTCyJkponCwB8xNa6roLvZGUY6cSGNax51nsMyn/KkfVzRJZKOkl7XaU2uJFOqUOr9e10/FFfwt3uXYgkR0sNcsh7kHD3xAKD6RVgB2T9e4HMRh71x1EnENGkcSgLcfXuL0CAqPPXWQw4DId9Pe2mTRCf205K7VrUpYiT6B/Lx9x36SNN/GWldYfSgOOAb4L90//TOsi1ULUxdB7B9nS4CjKmCrjss2+IBO5QMScPK6mr+COLcFiEpM1gskBzr40JhH+vGtlIQp5TjHryAs5xdfzt5Dg9zEqvH2tQuDCfWwRbM6RmCN7cQv/7xpIomwflIQ5sxZI5HhDrPTSsQIYZaAFhPLkKfq/NJX9lKCeB1OsSIyYOO+FVpChlWWdA/Hsp+FBqcJLlY78hrBkdfYA8MwNQ+QhVpxSwlOhRdbOSfbWgcm8t9BMZJgyX/eZvBCk2dT5s0nxL+EyquMjQyQw+wRntgJJMAiwmorbQ6BMVHkDkjAZ0aj2y8LWZWZF3SLUPAC4enwlbTGlBagH+8D/Z9nxOCpCE8y0l8P/uygl+8P+U9eaim+ywsgo8NItVBiHePWvaxIEDSv7cfoP6WXqJnIBgjikh0baskHx3OHbQp/J8CWZn/bZXvbWqmhqm5MLWfv+XGd5BbiFkvtrM9gOgbQZPBX9btOR/+eyiLz7CMdqg68gqmP25tY42sDqreF1HdAaJP/FRI0wqFJ+M8LGpKAdo+DPyPjSeQTaG8pa3b8Bk0m68SAu88K2LtKCpRDAuNL4HA+xqXx1FXc9Wb/ikY8VeRCe/uhXFR/qU1xITCMI9BmzUGBsxNvZ/xotyEKU7U1jLNjYa7Zll0maU9OINUvj3Akv8dRA+uDJHMyFa6NFHUAcTN1PnAPY/m5qcjT29WtsVdGU+6ZfPDUsDz7U2ewfTD8mXr0F7cny5ZqG9x2YDyT9DV8cGS6aMDVB0y2hxrl+sCeH5EJJBuicDKe2Qd00xEPALOtG9GwaJKqhwCqqUtGNa72WKlkAtAb8guFIgDEFHrCgFQCVfbYoCUwd8YbMRwwMhlrkHdEGdOXEJTT39M7+dfP14S7hlQvS7OOJejlBCbFsX5NWvelxKZpj7bxvpT+NWrGHzl06JrlstCuv0WKuESRi+WGMBSuAHjtax7jTA2uYfGWLUOFyWX05jHuy6vAmZ8TIU7Gpby7J8460Juz0bYqIzi4vswKuTDLrIuDQbY1xMZw+ebIQmdPVWRcxvV/K32uvLv1/uwk1LcfDat3b9Qztblmog4c8yJMjufU0YSkvl1dPdgag4o+h7Mdd4qL8K8g+2mHTVE+SG9lz9kPjI5nKpLTGnWmsSsYK5VXHJdSg/9iqxjawEtdoKs+Mov1QQHZS+jiaFj7Xta+8T5FnVvKlUVG4c3CxHEIh2TUJb61uejf4rrUxN88EkFtgpAxoEddMid3gx1ZXny16n8mwNsz1sOI+xcwvGThjYcR7xciT6T/1CuJ0A98LA8VHCjWFkfgb1iOlTrozsqCcpo212/hjqYXDCW8Myo6ACzozKas2LEJKtPIdRgjxBs+ptPcK5a+0j6YV98AFxF03lZOsvuLuGPFYbwInMTG4trtdzErvmhmxR3JZWIt7YjTP65U16xCTXC8Umu4EeISzQMbBgQeHq9sgpnaUpr+9Qgb+vrpOY50Q1aeA4MqMdm5TeBqr4WdbqbGmnUIewcDB1Z9UyWrIUQOehsZMWyvd8qffeddsn0G5hzgLfXLp773fzKLnK6lKtLstkCIAK2FOLllTS1bNKvc+GnjYiG/r/ILLJdndWQKX/fstQlLBnj33AAgqenNImkTEUM+p5eGbwOBQ5pf5moT2m5dm2FvEYj7EDekQjLQQRu+lNFxI7oI4/pskvgpU01pfAi0kFPx3BgAu4WnIc0hYUOSND1eFh0RBv92P5FO+6752FTQVJ+2hZUaSpjOnveOadij6yfn5U2ZJQchJRbQFji/SlSkbZc0wz7oOoRKeUaQwbZGIJc/jvSIcWUuAwCWAjDtoETrmN68n+h4flk2m/ArlbPnI4x0cesHTAl2JDZlAgfc2BskFuQdau1gB3Otf9i+1ylfY6jtp2G8bRhEjY4L4ahL/VsWf1u+4XOagMW/x9q+6BCrMgEtZtb+gb3EgaFwW37xFqr3zUj8NmW/tQglaVxYeldGPWcoCFcn9Tl3Y34YXoSlWgCWqQPGloPB2azU1ZAl9F1Gh6NZ90saNGw/eRuJoOVB5zRQ8mQ+QIindrii17EpNVDq/zwRpiDCOIgkEeUWUmLTz9AECW6t1j3Pki/LHiPV/4bGpTVVN304kOTzVV/XRwOsJiEpuU14uS36cDyrHusxU5JMZ90dY15vxNRvpFqC7WRtqAixJ9m22Df6XBb3fGR6kJGOpO32tTcU3SbBiOhdE3NnSlL1JMLeyvG2T6TANCkc4X58vghy3R5/z19axQshsPjSlVGB3L5rkuoalCI6dsgyfQ2a5t6Vjg/4fjHp6X+mZ3uz6sf2E5lJrhXgGn39sNR5bqtOMfEHGaD0WXco7L7V9P+CEcz1MkQtzaKK2P3898aqKSlftp2ouqD3myT5IS4JWwhM8r2drpMFctrDrKq2T8OzXa/vKtCstfkQN8kR7Z/1KP1X+pwkGM8Uqwyx14Wis48Irgqjs1CLpdxoO4NsJUcDwR/vWQsBCSyBNMf7GNFk/FhAliyZFeWwvj3NTbMV0VjgaWou5CcFzQCVZ927bwGS6xQH0Oo4PutzuS2Sw+M4CA/U7HEdUyLIHv2BAU8FMtRLHIzuZn9KB8JdWdj63OxnU1xbGmTP+WiZyEbIcJP2F/2rRVSq0VFM25Y7KGxWvgH1GgQZD6E3IXislFiZJZDIoCC71XplzeirmolTAlyvWC3iheW5K1KaCGa+QhFUzzUcbc5+hCmZZSmxtp/iQvJYfV5/BbKZrsc2P1wwl6rW28UeBLQk67WhbV9tTc5XmWXJxcP5ZKvbnZ7NRgwW9qFXD/0hDULkqN1oydzbUmpka+I3i1cmkoELVdmFMpogpMfBjo1CGEmZzOSOODB6wPLg7ereuXt1zAdAfwmV423fCfE1/qwU6o3ExuVAuuW2qxQJ59F9m/hVqYq+7mVf+C/U2xw+GGrbOpdehtd2hqs1nwV1ZXjZNG4lZ0imxywM3ColSV5KCsjtVHfTS9lVmzWBVYb/2bljsx6MjUCDtVn9p7jzntbMKaTJowJcGVbL0jsGq5nJTL0gmRDCyIBTsSM5+LrhjPiOPwMIVAjWVg5WLCpZc5PB+S/Vt4xLCODp8Ia60DH3qHas/WVFLM2FlypTy8BbzsMSGcmOSxri0RVgC7Iogd9i4hiG3HcnMNGMPnqeKgdrVZwYOMipKdQjj3c60yVGjpd8fcyRBLZN/4EW7GiR+IHLh+Wlm/uOBN3q/cyGWLs8PzC1i1ayWP6aYhI3w1tGmnKTTfG/dPvgE8qJja/8TsTSI36LjzrHx82SgOE6BTldxeCW5a4UITmzzKwhMxz1QXgym+beECT21/QVrfDZSwBcK5801fhWX4dBuKcxkrGv9/YVtJpt5EAocM43VOyr3/cRvQQjSNjsLUtPKDWoGfRwX20HTNtJJO9tZl1wFo98jqt5ERwtTDPDNuUqNGdHxAROt/FMWo+aepgWM9I9lD04sz7gaYcC9g8nOA0MHRL9AkiGon9zW4AN7EjZ3ZQWLmo3vSHEt4L1guOyELNCR3/ThoktB1femahP4Nx7UPMAgKm4itJOY0jcUBfZuzyuXYPBOat8s6DQFaOP5kd5Sly90eOwDNEN2Q1xXMVDMIveW0XCOubmO6PwsyninBpEkegEh4WQUGrGxWz0pOFpB2FbXxDlSqhpND1FkETfpgoYc3w3ZelTmpBCKSZEOH1ko9fQMreqo7UMXTMfynW509Z293W6n+/S7E58Pu0mfJF0nnYGU3JBxBf3Kaiehitg4p6JWsL6l5EoQfJO9pjLh6wVaQI0m1AobqnZI3BUo7qkJ3q/oAH82MWHb4W9TGIDOd/fYYBNiS9A/mVbbYM9iJlZZxzqBCEHwv17IrLUBEZGj4LipJxF5bnQ7+xjUjthp+F8cpNCUmnARMbFKveJLdlfiZP3gLsNGDHPZJc6xECETlcPnzRXt0AWCGk/ckq/A78qxWJFXibqfNFHlZKn3iHb9vGeuQANtBCQdKvT0AOx6b6WzXh/GG+Bh8F/EQmz/QS0r/uDyBxpLnTt0H4u6JnDhOxvUa0wKJvvXuokGGT3AC/26rWMwa7rl2KsNgQkrWwVSwVnZ7lHxBZqi0R969+2S17906kPPwfcPP4wRRMNs7wTDtUYKW11aM+LnUnW1eKpMNDpvHfw0iAhbsPBshEUVojnL/eQ0myrfgFJBmb4y0Uyf/JSKwNAQw5w7N9rh3t+n08M2RIWyW30NJ/Bp4JMiQ5XRDEpa4ryHWF8pucdGva0lqkCtgZrqEqvtEwHn6i0GZDuW/GDVWwpJVT9Ed71kIkftvFZbe2ayb6EifLEJz3E9OPsTXKg3F27ONf14BPjvuVoDzU9ZG8ojCkLzDXIDAj+yVlhLoJtx+OuWYQq9kIkoJxOV1SmWG/iRRHR/12APHGliXDeZQ6zLigkllueTU0YMm720MNO4oPsIya45R0XKlHtOn/jaa+z0FK+MPOpf2C3lQideVLbEf8BIku6eNpIfODlkEiD2dNyHgbiZv70hBQ/AKeCF7p2Kev19PVI4LBBoXX1N5rXiwvvnsfQQPi8KTrURS9OMAa0y6afP1yaClWlQ8UGg5cAaS0fa/t4+holoUq+bC2LUE8BDKjtlFJ0uJgIIWtJqfLNLFDZpAeO7/4GuI31ldhoMXn5voeurLxdg8TRlJ0G9vO32Yff331Pwa6IYzJg9//i7WFcC5VFzLJH64ps02jWiaQLeGUvXEE0ggyRYI1CIbF71q3Iv493mNYOJKIE+NnrShS/2j85rdMJYf0jFht5u4buknkHyUQwz5cEUP9BErKughj57x8guQN2knbZnkbnDYojx7m9hKyWAiwAzPtJFntit3yAlZwjA3mPnjtRjzglH020SjJIeR4O65gAatUwgtpPSgBWzjFamg3X6EWD1KdvZJb2dpXuYITHHxSJOswyrg0xNgHuGivRGvvLICkQZFEwVuTQ/UuxzSX5euBKZCtFO821KH6TqRj63Jl+ynrUTbP8WVruy9R0jMs3Q45lFLRxyKrbecR3+FibQDEG/R0Yklbd7qNBSHtTgptIwb+zYFB02TBrExOERtaUdK0W6oRwv8VEIy2jBTksd5JwOi1wmpCwGd8bMjwOROa85yC4ALf55VY6C1GS0sIMnuADUlVa3Cg/z2305xA7WPGI4OK0eRPd7TZUxpq2ZnS9sAwNMHVCVjBsH2z2We2WIZAZGoB6S0sxWMhiOL4TjgfHJWTaYILbkkqIUUqsiBIhDGFtvQVGolLzJ9dPZgQhnbkzdy8nQKn0BL381++aF0LlWn1Qq44Mwxxdv9Kapr02/viA6r9MiQcXzauzzcOinygFUZd7Ka8a4BOLhTM48svQ2lJMRkYY2lrgn4I3HIgMeYLyZo32QGrzjolPv/IqwhbL7lhkK7fi/iEucEPhxUhvlmW2y24E3ymWtqnSR2L0qAjl1mw8U1LHXg9g25bNjzqlGKSrcJ1rDp3BdGD0y67Ml4EKzGBFRZw8iKCXmzGlcff/Xv5kWnxheuHf5TpSBh7U/HsK3g+AF4R7mB97zCGkprDnjhJV+41+I7YRvv7TkTwEda0tIvTJkydbOa5KS5OV9DwKa9W7msDt6701HkCCTn5fPf4S4iB4OuBjDECwV5iuCWBNebzYtf6xXhL9zkrgCMI+rd5tm0lCieIkRLn2mn01aQQKY1+DJJL/9wenzcdC74zkh6Uo0EaGdr7ioab2zsrOF+/7THZph140sA78OFIjRuonXSepdqQ4X4fL3kyzigiulkIcT6Yo7QGSgTBCZOHMkTZbz1ATzETi4TTgErGWL+ec7mmTW1T6gkaKIXJigOOQ+boiOv5kUSd7elqd8HBQ1W04ewCcqI7JBuexawef5qlWaUcmnPcQ/syZpniBhUF3vO6dhKVD/3lMFFHS5lxSD02w0Sm+m3IPGuToj/DAOSR9VHjb28i77IjrPc75Bi4LVkSWC0TBXtxUTWKB3viu4B9mVx1YV6ae3HPoJgqBXC+MCjuJl5s/IZAl17Q1hEQfZ/cUmEi6rvrHkGVt9Jxq4lzApEl5pUPC745bjY62R/SVnd5PQBSZz83Qqr2jRpn4bOpgFodT9iDs43WWxTGvSXVJymbgcuQZgZo1cMWlRqERO9egV7TY2gCzTK+VxhDivHn+Sj9a33Gg7Zs1CLURho3VEhbtzds0kyIK82MIFVfgGvl+hl/mk/L6z7L1OV8MOWXZRD8R5mMqn9uC877j2AY8alEpJypTDyuyovXuGjFHsdFaH3fhS+iJ6mhgW2srAFZ9WS6vkpKGJ8MhP6SYi2ZR7RD3d32o05124vm0Xa9JUbq8PrecMijn67ZJ6iMWpg3LBueyvurpsY9t2H2yHPFUZHajhXzTzHgPhduA8E4a/26p0cEwBXNy5R4nOBV+b4iTkpMMoRnpPZpGmiXj5AY4L5hehBLjCdRFa4dwrf2xJXAeSGBGok+b/8yXwi0hYcYd1u8BTnM//gil0Ra4AvU/Xk/J1D+5/C/2fn7edEs3wF+Umn1cFg+q8X/E5KV6TKS2DX6Q7qvhXPq6xoRRiO5P41uwjrP2G+Ynldk8XzU52EtlDcHWYPSbpShdhn9kfu0QY4gu1ftgKHcAaiZ1V9H6nnXlG1GeFsfxegeMNu2lkoJI5n+2cnP5CgzBb5KKDDsS5DV6ehLyyBaJAWnfSsj82Z4k3VvOXmRD5k5Ehmbpl+tkd+ucsUOw9Y5mAKGTU0FRmo8Tdfi1MFXAhATzEKPY8IUxu9CZe/r568loi3ZW7nTE4FpTDs/hZgbt7slEVFPG1TQPSCUdKnxrq811KXkaSbPHViWxu4Vic9DM3OlUbLSD5bvzloS3zlAEznCSyJaIsY0nz1AAPUn48sctbzVYIyuchdQGyDgpnHdkiWsN/mZwZnGW/Tf4Yr0UuE05t/d55yYJ78XQkKRqsgbp0IlbY5UJqR2Kn3uUzRYKJX45XubhxTVw1tlTWP9bvXd5M2kZen4rplaOswN/9xRSW4c6Ytf6RNriR3b3x8Etu5DPGjgynqMr4PUzDFPRDtnPoh9ir7YnD6UAlz1IWUKFkxdCx7PE7CyyMCctATQTkuwxID7X4Q38iCjuX8fE9PbK4/q7f+SNZaaO4qWd/lEprSZEwvnIVUReLQBHarvSDQdQnWU/E+vXVD6ISfLsF3MerywiQi1f4LkVLkdsErh0J/I1e2SC0RkGoVo37mzxU5nnNJ7sLam0DasBOnS504BSIa+I7OKtScGyLQy8egQKEVRwLn3hUOXaF/eVT1dHPslMuoDdzsenqv8s4XpoPaLQL+JrELzy58JfuvUgGg/DcWdoxCeltZOaBZ12NW9tTS/mC2nkdQrRi33Tur2ffznURAunbrc5RfINbzITmrXB4eHFuhY0oCAbZy1X3mo9kUsgFGuzF5Oiqri9qShjT9qH5kSO3zWaqLx1GBrW/9ctMPaaKYmcM2ewzLOMVFP9PYJ/xn66WsNzQfGgxjRWR/ICpKJEvIIVDjChmRHk24LOgqBzRI3p/CfngK8r/aWo13YStdaSu5xQwR+U9WXjgwMilLY/hLP5OL9hV05mbkNfgw/yYLroeplGKtJtd8ziZc2fE3asafupQIg3MrjS7MCXOy5c5ivoCP/OFQUT00PLulfkjgKjqY1q2Mg770NCbzopKivbXBn15CQMDoFo8h/2d1rR6zIIlKkxvT5++Rg/xKqQ1p3Gdrf4IHhLo34uPKdtNpaCYfDtJH6tVyqw+ykC75sVpztdvfcLB23JQycRPn4qLzP4CMPKFnpidpMM00J5oQr/w1Ga+Pyd2kMQzVgF16B7+dgi+O7ypROT6m/CY7g7vH+6rB3DawC9cMKZ8qQu0GPsjjCGqIjbl7tP6rlV+7H6kfp9ZISZqS3PF5h/gPiFOL2IycbARRFaPyMVt7QqDGbDUj7g2nRymT+UYcBzRqJUAdDLXIOyGeQWVvwOMzXTY92nCJcqnSpSp5HRHJ2QWKRH6FVTeypH3WREyiewjvglcRllMafh5NY7gnaqCJNbDAueBoPzlgt+KprDHfurl10z5oL1xgE4if9b/boFaXQ7RNe2HaZWW/0E15AJOyoT39igLxaoWWY8jSYVY4IsfnZyKx1/x0jT9FRp/pX3TwZp0VamPKtOIx1YR9tXVBVA/EFPbt1+nRi8A11m/wAhMEhiCT0Tm3P7GQW15ouKRpDFltiDZo/pSA0XhnoTXA2VZztCmG2BhSler+tBmlrdZqvIDgi3/chnIHQcTq/s2/l/coJRjMJtJZCE9FBhm8IoibpSdGwMc33Y2J6+0qb5gGZYGrc/Lq4w/P61yQQVR+8aGi7pf1o/mglRM+q7zSvMrASYY534XdxfiC4MRqlgWecjVwZrpZTuQk5edmgbPxHAehNfg0PJMOQAT8hd6x57PGERBdisaqlwv1MTsNLrBkVWScJnwRs4JUdQ0CW7zKfWJfvFwpJ6+m7cF6p04Be41njO6BDXdoHlq40LWbUBoBAfRWXMC1KtK1SE463fsNiiNSnzxGRrc+34TNFDXHsR5vjWhB7gSI9BXdYXdAvPymFnjQfCLgHSaOsas3Y5zChYrPPxL6l51mK6i/dxv6dPFBbDsIqhG5og0fXkq5Jvh2HXUuZhhFZyA6hQtQ60k/eTuE4+bda5CHvN/R00mmHj3UZT2gULB+NSFoKZykeVxTVVcreJD4hjWuBrihvIdI/XbauW3Wa/PkhTbT6KrtqGVO/wdFncry0umv/zJgijk4tbwcTbsGzCqncp3y5xhi+oIBw3ySiAZaJebUP4/p+Sui35bM6/WCW+G/W6/DyF93UTncybaEP+jWKzSLXDRwApEn6xVUe245lo1gpIlItzkmKcquwK7ZYeOfAoGZCUCPEIaQkUgxi1sUHPt6rm0GfToOlLVPIJXBiyNGPrxj/53myVISrJ7dJdDuGNOhohEtwgvbbMGJ6GJC0H/09fCAIkpRTXn1y9pN0Jjigp5rvtJ0C9AeO7My5Ra+D3gukxNkwGubyCpf9Czc/YRoIi+YoQD+RWa89kE0zGhKwVZdJOx1Lyi9uxyFm+IVFPa/P99hLotEO2fzZ+4gBdsRNxQXK8SplDCBUZRD4kWeLMDykCsdSUUTThP2huRK3qjKcXuYA/uVv/aIDo2WkTXXqKqUvEgtOUMwigSQ5u2MTLCTDvT0TtZON0zhpuJUHAoYUKqWrr5zcWd/BZLjo/s1gyBG0MnwUsT969tgcdozTDwUN3Hq3cSjVi+p6iMZO2ThCPgYJzQd4cPvZUn/Yny0VKMSdWWj9tE5o93yMOyCWnsYUIkF3LIGJm5oxPJIl3b85G/oNXwjl01WmP9miv1rJKxAuAofNF3nfQwi1Be/iralUQAi6y29ZAzqKqfER/H//Jr62we/SktZIdJYcX6WwSU2qMf9+GPkPTjPAmCc/yIYs0xVKdhxqgsnn5q4YWl0lEA0Ilt3etAfBwupfbrweW48HzEJlEXUoQNaK/gITaDE7ZsqHMI/rf5E8Za7xn2LGLgLVZWXysLVZNbct27zY+WMmFB6Jpporghe3B3YhbAbaThk/k7QnHL5HDTSOjQNVZ+VXx84zwFIARhawHWP2oglX9nFXn9gIg5cGSUjxnoeV8vHAuU1ij6nQ8wuLMZh3g/AKolucXTVba9Vb08U09pIFqDxu69dGEOPIhXYSoIB2k0dFOwW1m80AMgZ/0KdJiOdAJMNwhNdNaB4acBCHrRpjABAAXwQx8vL4dJocSQNSYoweGHyCJz8AMb2Ofp92WvQm86YU74idHWn2481GwV0tJ/VQWcyUcF5T6ThUGSsH8prt7OfqLr2QlVl28g2qIsHQw1SkxXjtXLu6QSUUbqTKYVriLW6jZKJdT+gz0yTMs0WS12e5h/k2kMOdBzgS1LgcmJDn7DkHpABm7e1VPibqBumQV/9uwKodKf+HnWpZOP7d/7BEVrlQbJPiTeSvkPJ0PlfhujossoyUxlTgwanfU7wH+la8DgJPtgua4S/xd+JeLTRCqnW8b66NdcXudqNpA/Y6OEORDtp7AcET640BnECKRlYCprf2cSzBjgkztZbs9tpj5jthFtIWeJ2mavD6OBtJpjQ0QLs/a/lt5yyovSZvE1FgpYzbS7foAj+gaQY3LgZ1FVlpD2pJas7S2qo1oKnaQJ675Al8RG1ifgTQSl1SRQXLc1OLLDghDUs8S3RMZJ1Yd03lXaqW3B94S20SCeA56EjcTobTUvNc8Uc2k3/jwL259Opuk6MVIImSFhBK31eWWskpoSWCFkSzj6jIpSAWjLxz+T8CPy2YeNR8k6Uk0owOQyomtKJfqqyW1NnMHuB7jakEiZ5CJ3COLerH6WnaeevZlrMFC0xJqqik4dDybX/vb7S1lkDgmmZIeuFeKEUoShwZidYsElBdqrLAYUDYnRdpu6nBDrlpVCtQMlvCWNtUugMXKv9gHqSthXLueUstiV9qxCpz4eTvTJZlXRphBYg4jvS9PSgRF7bJ4Pts6+FMzIBsUGezzxysCRw1apNjScyuS3yj0xaQn0gtrvGjjpRxR+ZBfC1WvumYePPYGgxS9NR7TjihDbGvEiHPJpI5OnBi/7s+rZC+Q2PONJ8lMWGgQ6KGOYbXkTnfolc6uwO4Bf/v7c5Vl+uug/fYQkdvy2hLWqWD1u2HKVQxYgUjESH+Are6Wf7AkKe/omHFl6xqViQGCihBO8geBzsYw7DlLeEeu1kZdf9d9YjINX2guSLpUVr4rBreOYI5vuW2GqRD7cSTemWtw7yIfZMZrxLjfNHBD6RTrdnleLiWNAS8/5BQvA8L2lQRZ+ZfjdmuqsnFfExQAd3iW71ZSD7lmBbGc+ywRS2N3aUMPq6ukOwm0CsQGAPERk1nITsJdRh+l0T52GwF56uw2mYhYOtcmp/6uUCsyl6MniP0i6CTxd3RmL/vYZ/oEb6Nmkj1VwdRLiym7u/hi07OG3c+HsiC3aX8ZnXA4o1PNz8ISdXtgjRzDeqXgqaz5ZggkBdFFK99vj1p6qwvAm5XuSc3vmEcZUeHebrIfRjPahhbMAEAdSWZc34+EmFiVqVqFPQB+C7JBiFRwLyhKbjIynP6RgmN6eQtRbDrHclUov8eQv9cIIZd2dv8ec4OmsWB0i4Lqtl97cY82X1OqowO+O7VPQuGGi8TGuUIotJX8t1fYmvhKWVvETAyn3rE9gZR58nh/b5lp402R9lnQkKd9GxYkN8PNyxh6u6ZFWtQqYKKLOVwTmjSnAMfw57v6b/TGY3Vt1DAFmK4fJdYnFvtw+KSftGPM6E8AtXV8XOnP1s5O2s2d6hMXDcXQofjKL9dwV/HAI9vhWom0Yi1w/p4brTQEhGvpnz73Mifql6gVZvzTIVCjyFysaIF6Kn5NyLdBjEs9hKGnV3NN+O6q9+IIBJxnEtderdX8dbcGLBAIHrmxn2sNxboUS4dD4eUDyT8hrchjVZEgJ29r9/SpxJCONN15qzQzPE0dl1/7JrMdWX4UTn+LyYiTBemSODvr6wRAyZPwnw1T+P5bdjBTL2+LElZDSCP4s6zculnLJX1pd6tRfCgAWalIRgP4PyurV3802Q5PHjLq1X3pKXVUFrslpThOnf6uwCPOV/vKfb7JAhUfE7hn66U4isW5gm1stz3poBrVtIYwJtLPFqhp2IkteFMaphGCYfKeV76nYqtvUa1zPHDJmW9zYiQ54l/LoXCY2WTL1YIDLCCPf6d+/2dz336fgqlSGXG28UiGG6W7l/nhKSesCRppxx9zYkG8POYBW4DMWupBxfuIZnT7AdUw1MwmA2M6WiH8HCU7t6DSH6uHcNq4Ae/iryIf1tQR1iNTelTG/r0s5Tcf2nyj9Ouw/lMCgIUqOCfCnjkRQ/qZgq2A/uidXBteeWkUQ8ZCaXhxsx6X8LeeixoQDKWVAJT2S3fYiB5bUZbs59uHJYhwFZUT3EbuDG68oHRMl8QTKLrsAM6raOTIw6wEffRRLgcjeRy+fiMrOu/xZU/4eRHVPQnss6C7xf+jqvs2wcbX5Lh9sLd4mHhxSNfQSu8TtLfIL1bbRaRuC9RnV8aYRZqU4Wg/2CxTLFzQub+PPraTEQspJl76PLfSGmlR49uc1TL05LGYpUAMunmQ9zr6m5k/IXWkn+Mlu7iClBS1b/e0BTVVwpSMGtWbpBa5slcOY3k7NJmR216EsNQtKSj3fcG+qtS7Xh67W8dK32t7Q9paWFioGiy2Mpu2dwhtcBq69sLF579PIrjoG0ybL5/3hp3Q+xK7hxbA/lstdFflhBaw0u6P2KTclJQTQmInY02liqSO7kfwVJQeUOy7ABERc6Z9B/x05mFOm1IhkxCJmoJ4qdlX0kxDlRe4YfYH9JFvgzjNK+fxiiXLbP0eR34/EGBea6AS9iASpbVTJljp1/Cf695nk+4IbjqxQ5VDn/xPye7cAXaL1s4Dz3YkO6ZT9bcvxlhAX2sgqR44goTvPmuQdlwcE38h0//xp7MVtUhltCYBIsCb8EpSLQ7ta/xb0Hm3wEaGw+94lS6VlQPjVDqYEeOT8H3/8lQoFWiNzJLf1iXqUvycSvBPqkcnSfyOWpzirJUslWxsJawOXX0HHZkOqR8L6PJfty9Cppm1kj6ojg1jSPIljazCIMNAhm19zfy3KZfm067Z2xsCs+oAyxT3BluLT4hPoSwHtXi4XGrXxhvpvROOuv+FeI1jedncCOBerXf7LXhwsNZmV8zAat3GkkOMQfJuoTI+nKJU/QpBfGzf3e1B3m29Nno88daWo4cR86kWRl+wo4zYgJ77p7Ji4ymXaVTdfTQMzbMESJL2nBjI80vzrMdgEjWHFeuHLxdlv3CJX5qUQ5WyMeAJ3a6K4kzWi/sz1CoZNsAn7bLKCvOjo8GCCc3JKKJ534zi+FLgR20l+0fkO0OQ6qv1tntihianSAgcP59XsPpiTBmGuws8D0LB+TjO2FrVSynHt/0zwcHoMnQhtd5jfGPNeHFYp7bfIs1BfmqmDYQFYri0wN7HkEEpcmDh6h6cF/GZDwkctCwsmGu/U0Gp5/MvMcT8lrZL1fQO1LlX/FKC5joTnVm9uTrFlv/6jW+3yeLTze9W/2qyMmPcCTBWR3ZUtVT44gY9AL0dTjh6qxzL/WlRWceMvmOa0a/YDeIEbyjiNjJtaLkM8HyoCTOl23UsToGjywCikouRVWntFuMj/ICrG9B4E93Wr402H2CGIy7xqmCfAOQE+V/Js8zKq0e7tIGgwoxYkdrahwKG6omH+KMHXOBiwY9OMunisnSdCny4+B4KuQtV4NAE7N9uSuhi/npzCbh7rLC9HNSYipe1/3Z2Y+Tt5IJ3cBotlzc3WZhyQwvmXejQfu+EGpblTIEBXgaycWFA1q6ou+p1wng9UWe4/OLBH1/rlxigWhqjSfy39E3uMnqGD0uStfa7o8Hiw982b1y7wtO7NaXXWxRogkGKov2hWvFtsTmRF0aGs4AdJ9IuMCP30+lCVsVDOquI7dvzZ2PB9vnENsN58pl8bRN+1PyzhZEWnQtPiqaw7E20sPSt231XWhogNYJlNA/mE3HelGQEVPy422ZrITGjiBMdDOp7XIG6WGZPOpUTWr7cY+9GQjg/qaDSuC4zrERyykwB9mJlcPDrgI7ggg6dbiybyjYz8GIYuAqS1MKUQifQh2wAA7uifS5gv8bUndVBB+nnK8FBnUbQbflbmJTNT727xj/022DO/V+m9W9DwyQRQ1KarnGM23GXzSi82OnWln3z8INUAr/KAUJGYeA8T1hDoLnG2s9bzfiUicveENh/XlIfaVegwsxbqqbJ38t9gpwh/RAjStfdYoAtmid1f3q/ljwM7iCi7v89pH44rkmQ5P6DrqSHU5ymFkpaPRtqLVkme02UL48I3xTEZVmVJYGhtKwaKdyibTyTnqcNnnNmt5N27MY+SQhSFk7x95mdovWx4XZ3Pou1UKIcjiWcJHwAGMMUcg7pPP28czP5X0gueBAQjvipbAPYtY5QxY3Hb1FHAKhDbCPKH7dMvqXZEXqZ8P9TWrqTck6qAL/PsqgmIKrkbt5qvmROSHOQh1Fx5w++cJDXzbFl5NQ0enYb+e1UJpqnGmwjouAuUWJyBeYcVeTL5y6FCadB2WnAza5dhqTskS2lDvDWbZljB9f1GFL5TKtCRkFYf6LrtzL+NplYba5mA7fFxzGP4vduvfNicIkTirCIF1rsM2DPUsFz7zYEAAhtg4xPZxvuqqVH9+dZw/YDNlAJh8orb2jua2qqBjAvDYK4AcfSZi0vdM3nNkzLvBxI6zu5s17XVsfGGYctd/Ct8HksElcyV6r5kKiRg8RYtEJQVWu7ACUUqJHUTryscr4ktFpST3xU8X2yM3YVjy/E1ldDmPao29m+WIuCxoxWHzYymVkHITcxrEf+8TaJsfRsi+Mp2Mq0/cMST0g55fhU+1bTDwvxxg/ub6VhMpdepbU3T2eeyOGtyGlaU77k9EShsTcR88Tej2K9fIm0fDCDlUjmUMi+UZlKgCOQ+9WcdXTHVEfEBpXvbNNuGjPHfUMugPZ7F/BTlFZqdW/sqD7K55Sb8MJOpwy4izz3bEzJUPcUiigZRrmwuKtQO1uWwV8VudT3WT9856WvtMcz+6oRfkbzTsPjKiec/4ue7s9RpY+sIOn45Y4R9IjvTvcLeCbg2inPoPiS4h33L4DiI+UduuRpPqz4S7UfBFUAfAIM1sKhp+1iIarGp4gD0un14QfM6A+pm5J4UwD05ujv1CquP+OR9Ab+5LwqZNfGa1R7a8NelFbmgKQjjwF3zxzEXzBaclK5EX7depawgCx9n2LpDS1zTvjSKKbZZmf9b7Xi+3cwFv9QotYNwHzbw36bvha9QavJOsFWTIAQxwbcKaTv4VCkrnof9wJ+dqMZNCg3pch73eIKsAS9WgXLYaQqqmSa4x9dtxIExZJXZmLLT/agV8/0q3vfULrg34OJU7VeRdCuhLZ8Y0hTc/Ll2WxLpA7PQWRrstl3bgUxc1eqU4N4fpyVXhEbKRsWLcvA906SlxNqkgOIe9NbrCERuQBcvOyTKDLZmxkAePRfH95ywtZcEw2S6gASYqIWBsMTusoiYJUWZOjKxR+oee08B9NOySWbdiii+qku/d72+p244lpOjCg1bPVXGOU6MfUx8TFai38hgprW5YmGv4dPMh9xwr5l1BlnlWPIOnsiAM59OuD4Akwufb7DtlJJEFjvQcxow1LbELh92Se5bBygqXUBKslDaXD0FNUHn4AOfSmECv6pJhVQxGZn5g3qrObxDJXmeicL54d8uqGzMlQV/7AR9REJPNnR5yuOwI+7tst1ccZO+f02Q/35v3d5LiRhP/BjmzJZAj+iqwfadPo2oXhte7aVpX2WQGgVqp8xeod9PlKv/n4bCkkguABVo0aYHUJNZj8MCRMi4rVcYNe69WDLinApnUHU12BwYjUt8At6ywimJpbdEu/4OfLFgCt76AFjq9xMgkVIXVoVT2UkehodSefJ0xdP4BSC49hvlJzuxmWGlACABgJ+L0fbF78HQIUz1+9rwXeoAs9Yrh5SVOBrz0fQWoEabkIWuKcTqzIMPEfe6qqTPwY34xr+63NQxnRGGbd2RIt53h7WdadN+6tGx8gFOsD5nf7u0bWXUBFt4Pa3dbMU+tEwXZzntjx5JCs1IckZp/CiCjNeL0IvJrJGTctw0XfIFRougmAT9rBvyWxphqSDclITIbFYQGduw5SUYi+gMNHjqtW2fTjMhoG+3XBlUGaevfo9ub7wyuxWkVbD9LHOzROaS9uPhlEHwcb8ZijKsDwrJ8ylinh6U2fEBNfy6iHPGCZIkvMSBbkoc1RbnVW3hU1N/s9ToKFA9b66fpCkhykZLsJqih6NngnVQMrabxJ5oQDBBGLTIuk0nuS+Ifp7YjePZX01b1y7wyNB1P6GWNs20k2c4z8G7UYa5JId+3C7JOS8wvA8BFcvnYSjrAXrK9bR2papM/iDW7EMTa9P7gx05sVBo2CL7wpms4ZuQUuTtNZIEExvQm72xoflBOgEePRVB7S7ucvZUL8RG8CFlyHPHB2hawMGkFCJmtOwwni+6AdRCE1bKFLuPOUDUb9S+pLVYQjCR8r/aMhGiwRTIUiJnicnqZAxQWu/D6FPc1jD/5klnxcMX2URKGXOiA5d9xHAziOlvUsbUt09KkAbLRcD9HrL8g0hxpBlfFXlxbnkJdIr09AiX+3anHgd5wOnyJm1qMFd3J9er9SSCPlREwh3Yl3ZkrsWFT+WrxkMYoIaJbGDaTCijA6HAZpIzUxri7jhmEP9FxAuALw/ZVl7KghsU9TSMBcjZyaKIhMdC6emkYC4VB0gIId/+xmUNAuOoqBEwkPjQFAKaaIvBqCyFSYFjT4aLndMNdo+m6C36ae0qfk2MAGFngG5fdk2Za7LiBcw55s65RmhuzFbqFG7c/TKBdqLWsjc1PgR1HINzFfIjQBIhDnmfaU0WbcygYJAYZWzEM6LeWz1Fg7SKyBFqQT3E5sH26NWGIVqEV4v8x+uCz3tAcGGnS0XSr6Euq6M07cTCvNTxuI9VXoCzigOlQ3sxZiZc7F6fHH1tuWcafj+Jle+D/nw5Ry/Tomrnxxi4qPeUBdbCmu3+pgB/3Tya4ldtse3XR8yrT/IDDLhexDNqxrsadfEYw8ZrMsJDP4egebV85bYOfYclJfztds/stC600hPBAFHrHFrldGFUw0zbwlhIdw2+jCIpF+rDixdEnOQx8UBuwR7cYVWtqUh87rHsYDk94J1wajGnpA9okMVSJvigBtOfpxR/OUendAwx99s0RgeatHOP+CcEoyODEpZPvALTaoA1OhE1k11S8WBuEAaYZYlBkYTFtADS0HypJ8DZUQsaGaFI37lt1vxmCChdLRqyTBmCkeV2qTh69OUq4D6PaZZ3u4jayS7RI4BpueXyydSzyH4BVnG3KKbn75VOQF3/T/9FYrt+QM8kGa75j4S5sv39BYGG+aWQChQ0w3AU+2+dZBnArvCh++6PptvnM/13vVy5eJLCHiPSlv1s8qILdFGIt+J+VfDV/Axv7R3+cxH77mgR6WmapMT49p/VM0tMWOwpL0re5VfBTYfMCpEhw1VLuTqVgPskJds6T0/9NxQrbzD0gJ4ZlVEsYoL+XKG8V+iaB48JqchhoecPc3owHU/rXmMwioyV686kRR20I7obaYLPevMJXnBZcQNi33C0fsceO10c/TLYuxKUeJscnC/TERIgr8P4YeOYOhCN2km0aaCzFnJq8n+TLm6ctW0BUGZzaURSPZp/HB1rf82cGeIkXG03WNv8eg/L593imBxD0FzEmZtDmo0iIn138lIDg8HLWRvDwSc+giWP2WfMaDsi5DUBTq4Mn/dqjlzxH3G3wW0t8U0uZjFhjenGeIYPRtyZwcNp4s+FkIMKB6v54hqyu6Fr26SNnv1VA2G06mzeSdatW7KWKw4uQ3teXiZ9ZrShT3AgF58JVK+rQ8BL6lC1sPVJlJhEuyDUhpwgRMOb3bVAOVQ414PkazZUVoeDuQFrXqaA+zCOJwh3nz3Wc9JZnmCDPkPWmZFvFbG795kaW0Ao6wwgazAX+3252GLW+tyRr+GvtdxGmFvmOV68O87un/6WuVwrSo1u3AZhPZjJ7iIyDhvoKS5KBNlbG6FRzM/qjsIS98Ppl1CuwaEbvG8VVyw917aHn59NyV4b7/5OmRVDd3rzwQsa3cknJ0Mn9I0PzJil7bPJqf/oeWnsgRn6eZdUV1FCwVmZI48UZnD7kEv3nf68wYbSWrh0ADAdcRVLxcFAQIP6P23xaCI5y62KyzjCBv5MtXcuFsLiWckZFdYkYexDhmyJLo73Pz/2PQMNNglMXNf0NY1g4H9x7wK/PHiSOqDZZ57UdRYSQDjIt4iJNOUvhmpAd7vmCqEdRwMf3GR68oBV8PvqoR7pDHAhWsSlfMnSUl0ylPhqDN6lYBtyhuQFoKSSaJaTcFEcCQWJ/MbKYIW5XLP0skfEs7vPGm2fWdx+Pt0Z8Q1zDuUuUSh8RIGqlAIu95UNP86p7UpFj2BmhyxqyMo+Lg3EVIDcxf4LXqmFqWlpq8h01bniznOLrRi55yolrd39bag5J6I7OzWsF5c9eSl5DI4112aKKKLvH4Q4XZJq6F3o8gASJcERisHO7wYmmWUo3R+NQCc+V2nc0e8yI9vGIUxEDtTyuAy2g675DbOGVoc/qKPSaghaKpnPzZ69P7j2QJA3MwJr64HNWHzyrUplGbHW2vN0wM/Pd3zZvbgVqMSYTtuv/PN86BU7FEPIzFbYtDnmjadxNESvsk1eKfZeXrUUDOxJqsGXjromoB98VCfEnw2RWrfSTi6h1WBwrh2z/RY54JYuLAm2KsPZ5PdDA6r94n6L2kuyd7b1KdCOYBeAsH4+Cq2lvWlLWbSXnrmRnG/u2pPz1Zu7L0kx4dfgJ23fHuE1cueaWVwQHtnqbHGmA3XFA4yr2Y+EA5hwyBqycqJIf1OY9+XDlJsja96Z3jF5bh7zy6JKi6bggPdWRQ8k3Yh/vTvAOfhE/5StJ4Vd4/gqpCnbF5GfWihz1ZP15SMQvfKPcax/YPhcfdikLfKM+stK+Gc+isC/2pguymnUJIqqEZIZMVVDNTEXrqnfdvh1GNIVYHKDyn0kyifzP8ZWKo2McUPl2/6onm7Qyh8kA0lWOaYt2OnuxggGo/eaBf130ClKrBw8h+wBQkboCI2/3t+yNWjDZ/kjXtG/2oVXo2jVSm3ItdxEeuZOKlS8/tffzqVSvhDZqCOjOSDiXYkyYZd3QIhFsSNTgeZx/xMawBvriz0PcrVPGRJoBhFKjE92RmlDgeLDsO0HKkpplaIfkGVRO3olGHuoXWomC814UWj1skFy+jm1uFfMxXL2GZP6bhodNZbnrs1ppFqHp0NIaOiWXYDCwDNjj2+64Nv7YbFeAEJ+eDxNCfL6t5scSeWr3UeeCp6bYCmb3AxGzTzrRFL2vIi/owgnr4j7q2ajnDGwmtNsv4uNIwLlRoXpZTBcV8Oa80pFQZ8vabahQNHJHMDGhyfHisSy187B45LSU25wWKg/P9fnOTTUlsHPVWKiTgu2uHn2JMIWWuD5f6wkWvhBJc+XWMWNtPIisoPbUp21dWV8pdPZjelvp8GDvB+i9eTZ8uQeVO77x8+ABVrEynhFv8hnZxZ5gv1Rh3zFgEHT9w9MTPMO914On3oaaUoGxcSmrfq1SqD3nft0mvCdk3c0/82E6t+nnD+Fm1fPHDuIllw08/UrU2q22IWFQSpFpOQiNg8U6gygSPl5vVGlbNj6nRiyjAWt8MoYxvQ9arh545KElQw8+1B9NjlxmJJUuEn0TQYSX4sug+dRXoZqdzK3uEIq5zDvWOq+qFDcOfw6+TnFAwiVpjH0R4D01CzWnQDvuYEXSSd8XLdfF9eahyC2Gp2Pr8QcBITccAZycoVC/ilUrSefU6s1rn4AL+RHYodX9bIJldBmDY7ymfojmvVbRYM1y2/mT8UBeV13uMBWL066NRAfIxd39OkQLmLil0euDYBjXdlCLMsHW/ouLpSRQi8wRIHWQrCnCj9pLoTdzTthsIhW+dzybl4167jAinhJjUtVVH17Q1Owc9C2DKvipMJdeB+dkkAbgU9NAAJ7xcb+lLHAr4yBAV4d3Obf/N9ZRAUuqVPHRcS9ydYn+T54I2YU2HA+6JO4Qg5fygRgyLftDcxOm5vk3nT/7qOoEp9yJa7DW2/287ZDRHnkE748Tb3MXUlaEUL8nxmvpqM4/6WDVnUTwssTquYZMZWfq9IcEou6OSMHJoFpjTWuGxcwCHuQhQ1ckmze16C+KhRS+VWTEOVk32JA9dD+tTeiDaVAm9SgAB4h9JmlIfqJP99UmPAzSutPL56LWb2CaW9hRfdkIuK+aOKk9Y1HqP93On+HK0ADmeIUM+V2edJ+vFLccZq2wn3AEVZsuysJ/13KTncJcvCwgbLtoxDdcweMA5r0vKRcAEW+A7muQ/Hw6DNH8/54L0sXebNXr9283seZdNVq3ciCjWsQBiYRf3BIJTFGGKrEzWz1WcYQwiMH7bPoMB8mLN6EyOn2HakHBD8xJNiaF21JZ1nNQsMoisZUMuURlYuTFsRvvhoWcW2IbfuO+nCKt/KwCt7f3Ngs2gtLOy9aFbJCeqlZCEmFtIeJzVtqbeZ+M5+KJW6hWpUwZl5PEMTall5kOGo0Y43MIBSD6xMwj8cZBpIwO/A+5aBulCJhMKmE7NcR8UesuQLpBeDQs7g7FxgWC4ab0/PMDX06L4PsfkQETXXDwBV5gt9juAkbjQwXxKRoJXOqmlVuoD3m8ob/k2oCRfW5x2cQF9bmBlX9y7GrEGgOCNUqhEIzJ0DVZxL9m3dSTiR1xrCsIvLPRu2TyE604XFDWnyAfZd/P9WAMW7AqYcsf9D4sSMW1zAq4DYRoVU0aJ93F6GboL7uScoAd7ZwCoUeNbJrvQoy55dbV7UaMDr+4758CA7/pOS0or/hWsXvOW+u9CnwtcTxUYkrRRHeN38FwfXkjjntK2gt1Kh4v8isfvcJry1v+NrW/RJsrO9SZnVblNLC1QUTX9qsnqgHbb2r6TA6YNy7AvFCMm1yMtUnxoI46FlyFc3SnqQWT1h51u1hUsQ+w7xNf/uV3m18PbN8D3a9OBstYs4+//QZe88b9HaDzloTU1O//eH9gbB2NyxifhjpcfUY6VkTkyMJhB0MBK2zj7VZ4rSZxnfVmq1ftrMqeCtLeOSprHd3UD1q6Y+FO4XPRn5EU97Q/xmLrC+hvaNUCyE9uRgDNeNitMMFccI7UIdndcBSbNW6KRTVrM3NqNYcgDfdzZzG5RTdRaPyEczq+eGwIxIwkriPqBQE0SoTHoJ7r/7xouE096O0aNhEWzm30uebkoJceVpxkhshiIS2iaMyosVNH2VptZNIb6Gfz33Bg9kUpnu8D+EWtw6A5XtBmQFrXpIexaKLzYTRZJTbnFE3Ei5lISdJZuAP63LR931KrahUcOGgUT6ra9Mz9CGNQs1p858XwotRvPQaVuAwvequNKYyIHW5632O2laMNjzu3Y+ddNevuMpQVDaJ1Gis0osOSxD7G7QSSRh886eMXpwj8EPaS4NnadXo4mNotE7AK3z1WRxYjCwufoU8yoKSqFkMJbUrUm6H2ZSDtvmm9qdPHb0T65q7zujmIU+Xz2OZxYSDtwyEhG928VFoRCD9qqUT5GbE6+8FILTFP8cyKvr+OJQterE1toHGG4S/dcCf6bwqSzH32HZyrK0ZWW9HHSoJqvGdvs7PZBvrdH454aLBQqNjRAxfK5FB12g37ttUJkoamsr3bMC0giA0nlEsbQu7kEgkgMG9HfBHy7njlXoo+uSiOUxD9U0aJ38yZ6lT2w9sDndl7+th5UPjJVdmWA799VunrsT5HY1b75uRHRY+Ne2iBhQBUywXW8FzmItLDrfbTKefMv7oeUAo+2VKJxcAVFR5UJjJ60vSbpcZPOBqlGknPEOeNP+TLF132MasYAVU6C37ZURGrCY2SiaBOgPdGe+YZozNFU06nk546oe0coNzM1s7JBR0epGYnBRG0ETTdZrHXcbacTi4fvI9SQmGzcVeZaHufwBFOQ06SPVZYHm8vDuPxehWghSfTAdFt3YAVO8b6z5xK/ww8ve0N9eBtDgIH2N95g9oVu9iskKXlLKyGQaXrSZPTslZL2FQZaYN4fLTkQZ+tOGBpI4Hxc0GcRqpZzwbupoAw0Z+2u6nMQFGx+PVXPpvx7yUhuLPJnjZ2MGe9E7BMLruA5/wXqzHAxRfV0Ja54X0ZXNIRqRbU40qdDV5cf1Y0IMcnmgG7mHQtqrAyE6WvGNXdKMEL9AKpY27sZs3OluUimiAND04OS+f7nFXAJ6dmdAdqNQx8et/T7tX9G8YUbaI/ki+drHHScqJ3SpY3zutvP0pPcQ9mLCax44Rh1k+eYQDVihoGzHE4+dNYN7A6+uNW0hyYbvPZZmrLpNLMtT4yNSMfUfbMMdL5aNa7V84Ui+mTeCtSyreJbk3HpHkVmpBix3H0rFM2Gc5aDVsCvxFpisolb7gBF+B7hCo+AiEQBWF2bNWU7Bxj+VE6ZPZs8t0werdiC9vqTsdgaKpaqHQxOweh5pwaegg7zkR7E7kietT9xygN9WNhdmtJsUzuGxOFOQbKOwNFD7ZAh6pmtTK59dHwS3DuajksCxb4zj/P/rixphCj9VPMp5SmZf5Un1tj9wrUcHnPUvSq2zpxVgOdYFXljME3Ll2tbROatXX7OVM56FTwVDSGvDItKi7Qs10sxGP2JvyGlNRQhyMkBIrkqpZx8E+MN8s4NgPyK33BWYweSlgOmY0YOm0vesnCntvLtEMxWSHWDID1+JxyZMmxnaO9mbnoLyMQQGlf5o+asuaqVUq07mS30e6hXWjIakXdu4MDCHvL3GOM3KCKUl4Yz5uF3qWm+8xppxvgabGWS/pKoa3o9pqZdAiIyseIclO5Ox1ARrWZP0mIVDEwL3PNX9Rz+vosNjKmkbnOw00icTQj9EPasPfuYQTjTnTu1V9p36aqrNEGhkG0T3tRL3XMjqMvHFzBjv1B5j3RSVIYUDAycPoNkquK9XCmX6ZFLBy+nGuMWT+atrUbqY2PS1dQQqGuO5+gs5mAPPe2XMThiHBL8SAxUCPsCVteZ5zccpJbt/5FEHUPI1PmKhvb7n+PW5E2l/xO8M66lIpmIhs7zRGkXCdToLJtyW1b/WoVSZTSCixfSP2NF1mB3rL3TpcxnfQ6IxS0uU3CbZo4z3MvjVI/a5503lcGy6kEM1XNTYiHUHqeQscX8zbqcwwknE7vVv3er6tk7FCtNCzHQolkCAtupYNs6xY2YOCXrFeobYYr3r6u5eAwmHjVtdrmHELRqy3DGmcVqGnj/uRSoLb3SOhjROniQhhonbYCktD0bGfj+ov8Ga9TL+tuLKo61he9tb3I9DVx8i7XgNh08B18yuhdZO89nMQSjEbFfsKZC+m6aY74JxAdWeAIvQWM5WsxRdq0jJnizroyEak8SmcQEOMAG34nhbvx5JTmLm6zh9T6a0fbZzqlCDHu8tCl16W8vw6gMR6dBte1JUQO0Sw8iFxYj4opI5Ir29waS/nlv0SUShDD1B+dWI3rZ1bRiGwhbEcrKsQvJHApi3SDYlq+yhxkc6JwQSlqohb9M1CfmLtY7EAPdyoaHpyj1To7C0sck9F0VBPDdw8wJ/G+qB7TTN03zW22B+GN/zf+TL7/Zr59Uf/JmFnUbsD4I547+uynLotu+urE17eZHM7BqivbOvq6tyx6A1peQQeBFaKPLCTOgP4C3hA/YrflV8PUSayKS40eqXJ84BbDbsuHX8w2fkotViB/7iamsRpWGGAlT8v0rRTDAbDRpGVk8RyldZgVB2UIgrcmiap49HLktXXLiJ8q8HJHUIsQNcyzbzN3yWTNu70mo72A7878sI2M5d6vm4S3iJtadLy21+wZdJee7mEZgbHToCgaBABAsW3U5Rnu8QzgCEsfzRUTYbqd4yCGzitd/dv+9vnE+6EXdkr0wvzadBo2VOHtPicd+cv8M2ebmDgbHEpm5vb66EEoZNGH46ay+SJ4hp2CawygAPHOc2+/EDjacnSNnmQC/VshPPawWKJbunHS01SC0HrCqH/m2UzgfcutG/Ep7yd7f7VEIzQxNY9A95wYEq9rztnQ4ZIUprOJ2ITqOMZ7fC2q7mheKL9WxXFYROILw4ojR/pc32a9OzOC0UC+OLU1QkkBy1IjNgR+vFPMzaO37PW7ulgw38Ot0YC92EdKW5E8xhSdA5/7FUYlLTR5G/A3KNcmJwVSQ0HGgwwpLeFnzGfVi/76wAI85vr1lRye4GXJ2QEpVBpX8kytjfRZ5IubmZYSDqkzlRLMVPYlQq9p+K4cMAsiajNC58+pWHFwyHqr/bU43I3r53nH/s1F990WkOH3grJ/LstRsQ8/qr9VUvJBzx2x+CQuzg7LVt+cdkkKto8bKVjNHfO8vHJUA7+4M1wgo7IgMIWFrfYq+CC83jwSPZMUjQidbKlnridRfmjfu4x7+bO6xqpp7chJysTDXcxHNm6ubc6P/aZ0C7zMfGjicEO9G/51WfiJWx/unQZSVTzDnubgu+4eBhCv92vSFSr7OrQPhWGkpO64WJsKWtV0MzGVeR4DbER6UxlwGUO/Uvn4Ih29PdMDdbFg/nS2jPuGt3TRWlaUM9LCtgpXIFK0puDhTFw/iPwmZ2n0XfrtbCgGBShKe0DQwm97iJ3kgTGjYNSTO01Kdgv5J9atLs6AK7kLx1+OlpdfAj3PYiyv70TpxJbW8KuhvIGVvo3oCUKPoyQ83PayfgVBhVyknHzKVvzxrCfYG4ExWj6vqxMoxZ8F0cGqHQcBpXVSxfELA/UpvACyhINST6FGihh3sbZJpVvyeWCF5zJVGVOUiounqaAGK5TWhwXokFQXPKtCilKVYadVPK6jjL3Sfi1spHtGvvI7RqB9Oo2+ofo2LXUgnjIBpYy9t3KMHolECi8NPQ/niwzc8YrkvFkRz7knM2KxOFqKKtZGBYZNrofRKXhaS9XXYDyD+cxtMvb0F5rhGUNZ+AyiCkvDrzXdzMpaZ6qNoB/N7qNXXedG3oV6SmA2u/yHK0MRu6TE1bLwKIFq5p3h2eKCe0/JJkUpJadQdVC98zkSNAxsf7Bbr2xCFQuW0X0gfyvYpMJfsuz6blPLdOiPv7NbeZ3FN8e/l0L5f6tUd0aQWGXWB36VtAq8itsOTcD1ZaF8gs8skIgcVtYgvlLUpoLjtZVuPlwGviUdevirUJ6Es/Z5iz1qhbt2zX8NJegKQuQH97pwMW6K2dbamR974ZETBEz2gG9dGrG64yGZmm8qEqWwodwT7ajOECwNUQw0+qQY2uA31KNSfaFepIeJQFDQHzhBWg8dRhNIgmiBdvtAK9GiO8shFDzN3H3DwAxdukUEYKXHL0a6Q4ffU2h8EdY0WbzPadztICa7Yh3StZLVNXJskucLy+onwR3AgZKgs2QYAI2NYwvQyf72BL//NcdRScppix6ainOZN5glkb+8c46vkLmBppBIx6oY1GbMPhU5AfQ0D5r4eAL6ek3HVkP4FTjmdMkSEdPITZdSxex2ydJFeT2pFKWyfdc/qc8boTOmoIzoKpEZN93iuAwESNGfXyyYhI9+0YCQlGEHEQftGdBHo/hCMQ7YG0ALPP5ArFgHOEjrqKuEbYcunM2VbDtt9SNwc1QXLHbLt4Q6U9Evo7vBCnzDsOhJODxhDasm7SZ7qFchd7d8W5Ru9tVX5Iz6JiP/VURATrkM+N0EgY1SzfkhqolvQ8ttGH9ywvnhGbNam6I/Un6tsigobu59tiRtSSz2vFpoqmU8gJ2WjM7ZZcfp+1sDasdehC1DyyxDYXTzllz95Vzs+fF3GUt2AeqNYXvRhR2sdWGMoBQtQ6LUzLGHPBBgoytXn1RzBLIqgvWWtEV5cT+05TISJLi2UU7f44KdUlHJ1DWICgK4SRzgZusPeICykpJcjf9RUPimGP94+rxbQIq4qlCB8AiUCpZ3xoqX2l0A8MuxkWPjyv+FmGlx6cp+HBRX29mlGe6wjSYgNNYjQYR/pJG5LYeuwgYbXdrMKG6NM244q07GW8zy+yyNMtrGQE/t72CCstuoL102G9kY1h8khUMwxV2Xt0MKM72jBcCqiNCoj+lOM8+dIPStuWPmwaIzrqOaIkB6KfZjBmgr0yEUtYG/5HyryuaAkjcKWb39awY7ZcMQ7mGgjaew/RM4B5eiBoObIEU50xWPKE3zrqcQKL92kp39WhAlngRKQZXz1V+1KT8j35LMFyjAbM9nPYVtuyw78QhlH65nX6RzktAC5KEY+2v491g15sAaTgyKuWtJb8NztdW4h9YMysoUTtKnBE8NyrAAoAHCI38dG/QwfYcPcL3zDiKxHeSgCKg7gDu2ljLwBW9O5PKXv3nDolfiKrxTH9dK3y6viks70ghZU8Xy6bEbaVtXtZlw9QSgGs4qzesn8miG3ZkmIFqEW6+OBv+PE4r3W+/UO8gOU0ujwxHaOFQDqhrjeqdpZ8Cf9zwKXhsFOnFRjEdzXx4G3b9RdLoKSqrmt5fi3R6e5Y9i+km+t9TTOaQ3EAjtfbBYgfXtNstSNxuFEwoFuJdQFFUX+xixifCgr+Hd7FpiCQ4FBOyW1rQRmggQxOcNVo30DywZ8MAjuULd6eONIVbj3nxM9QvZDYZZ3I+eLC46mFow8/smgfpdvlDN+x3lh7ybWP3m6RU9nvZdbbf/9ZQ7fqzqyOcy/pmsIcqG2LC/lEc1HK4sQLjPhbZFAuziMh8pS8g4JLjUQvkY+lHYr+xMmh5JbEQ9vNLdtgh5ws3qqPjJ++tsby4wz5DC1LnIT637s6z2u0Lnx4qzwNf/XXaFW/0gN4pKPujOkZ/iODzTcighMHEEcCD4B9aNvdqroWyrT4N8a9OOhejAm3sW4RR3p1MOcl/3xvyXdikvef+HsjPL66VAVaQU9s9bEYkQsOY3RfXqWCiqY//8+85oH+Z6t0BAko7R36alEsMCgwfZzgFZs9CAfG9xg43ZkY9Mj77FturGQ/yvUW62FZhRydzwpYZN15T6oxMrA/yoP8KLCsk4UYm3feiApXxol5CHIJFIQdhCD9HL4MT0Mk1Rnya0nlNLaY+qc/0F5xTPp0yJM2x7wd7bzMxGt74zguIxk6PmVRNUQs4iO917w+CE29sSzTIp5LF5BPxCOJpx3oBOwjrGIWL0P7qtBvvAXuPXPHOfmGWOZCMqqOsFbWQBX5vL2Ikq4/nzGDlX8a2gJGlnF5aIeOLbfPPUDwSjjj0hR6HldcR4WwqJ68EKA+LavIsKfUl7ipKb2ZsHbT3ggYK4LsBHi2dGSRPvCBHnLo6XVGo62+dYXV628nKv4khJTqyUN+/RUj0wERg2PNUVAa5pSBmFMNOGGK5fjDlu+6WN2pqa615ILKdxKVFYOFMMmZIGpP7JZrJEnwAMTtl9kxiypHuTIdPQgM3qFZm7X/dqh5IgKs75Ciz+w76ZOHPOTpsfUJ+DBit/6NJm0bBCvwZaI+kbccd1NsvSmTqEwpnAYTW67aKN92ecnnuw8+5s0ITZLpIUWofwY9cdFz7g/dlDlnXRci4N7sq635IUubchEcH2rIMSvgcVvmxSr7GdaiJE/l21psN5097dVqe3BuWO+eiY2NPjj9bctMosuVj4YreO+usxZ0k1CvBL7QFByDCNcZCQWMQZ9gJkPSo9VW66geyShlDV2xkGxLHv6kOoNTUoLaif5Qk0h/TjrUXiB+B9rHR68B5NnRYWJEXodKhIxNntqJ0N0TKY9hhH4PL8b/hhW3KyXSsjkLdVx/j5dHhBRtmQ6vtvJyZcnUoKBsWUjfDkf10NMxfHDqymksc04901+UEQBjofHbrf9/MRs+5iBHpBKuk55syie8FKaC3QaX+AoHv0az2E5Wo6+VKhkga0hlHtdFByG6HS396EYrMuGGni2UwqNEm1oSmaLHfBTibwbfrzEhCQm0KYq/4kbHlAGR5dLnTlkFqAyBBsFYsKMt+CU2jE2eurycqlN+98xujpSzUi5cYG7x8Wfg570SjYAmhoNXKuZ45+42SoHkrVwDbbNAgNBtfz2XRqXG8BbUd5p3k2tv5RX0c7ROfLPle1QCweXTW1xQQwb/LfLWHi2jLgxRTMz6y2NKY8B+EhR2BizLU0aBwuBQ3R+yrQNF92pggKPINObXQikZrYSXEkPCnqLEdAt18LYUp7AwXGSta3hdt0OD2Kh2btUQbjULW+C6QMnsjSkkBOQfKAL3NdX9Dz0qyvOzunoWXmoiwVNi9vvAF+VPm1Pu4OYpAqLCgx+HPVzVDPcw3m78UD7y9akAUtNlJlMBkOIBrAlgFPy2rhD4OH3oMZii+XPHLSCcJ67No90Hy3DQ4YZgk1IIKLE9aYEa/s5+K+8kBsI+vyNsKkGKhODR5uek8D+1gq0TXpgAMQiPI6LDFGsfuA9Yl2bAvuYuxypKzIIt/Cia7L99p5/j7RCjst7vJ40KoDiAIFConJ+J7FSJ/Ea/b/I3ariV/xaOuOaON564IF62W4+gyuSle7MoRFk6327l2YjAkMR9DXBeM4tRuDV8pCKOFhKbaWeo5Jqe8tdcK4UJwPaQ60pJs4Mz+v/SR+KeIKfeAS/V67mdW2ZWq/bMEMMbCi797ohbXBgw5U9yN0b4c0RBimDtPidNLHrZMLqS9Xs9QhqV/zF/BeqVcrBj4DQd44F087EqBNZPQl23d5RGYLFn9wDpsfYdO1lfb0EK+xZ9Nl8fwlxr8jaCUnkZdQNYJq5R3nVoRH3sPMupL4xPyNP9DEnIu4LVagH/ekS6RT+pyEEEfbEf9A7AndEhutHB7uh7sy917vHFxGZoApFWT2ElFj0WTg+qtLH3lloy3fVMDWKHev0rfhgnzZkP+8xHRsegCIqj506MmC/bqEP8WcJ+EiD6JVbZ2jzI+dYigC+Jx3fTOkAPm5oofe0z9Sms203E3b68A7q5HtMWoCjdZnaRV/LhHxLPpzuuD8QYUIKRZ6qacrhTWcs5CwW8S88CzC7oMwsBqVA/aKPFMGOCti/Q/t0lB8l1w/0hQZr4iKSKuDvR00raLK0AYelMr7vUYclIJPkE7eHAwqK5u8gqH/ssAHkMZ1pecwAW/crX8/1eqOCKEAEEsqyTftSQChwtX7xkg0rNPvFcibVMsC3XGqxfhSg0v7sIuUDt/fFlYFvHq5fjMJSn8Me0lPERQa0+/VK9yirGSRoOVo4fW0oLEa/xOiTLQcMM4DUKq4iPhI5A1b+MSn56pQicN4/btilX+uqVyt6XR9I/XRZIChCgeBNCafrAM/JKeehEP4U+o07zP7YzW53st5FUKNW5LntKOvxNttumOgqP0DJwnyZtTD5CnDF6ZRjopHF6J4fD0jpnpiY8grWesogbQl7iR4Onaq2bEl87CwUhOMVQg275lcosDWb1CQLWuLkE0HOCbqwqUIfUJMNCnQzP96dfLzQy6SjlNS4XrNEf7UQxlbH6k9O2cTzkyC4eGpz8AlO40BAT48zLS+zRrlpe/I/Wqxg+w987u0ATS2xf0Vm1jlcKpJIFz18ZnwIeZlwG72pVBlxD8taVvULOqVNBz0b0ytXSf3ZMzwljzjAENP8LQgOqocissnjo62AEYnna6aRyxJOB6zktkUmRg9zSjFVH9ubKQJj+KKdhvZa2cdvrgw5VgvBXXYHBQ09vUqoPAJCb9wpmvGE4GsX7vPlXD693Dzqv1iASg1WhGs4LnjhKnnraByEJ4IKjw4esy3PugUh+vNw60UmiK7QnU09SW9mhn9JGoCMV7lT1t3d7PrIQM5e50HVpsQICzydu4pCMRtmyGu+0YEBV79d8xbDxLMWXdkMLts7qtydo7aedQOY9U3dc+IY1ys2zWkZZtijjXi/lcdK46ikgnva455OTUuhUL0z6EdkZtC3QaeF4b9r9fv0ZSX9CLndiJmDnXkNNdoaqJNhXhasBztTbMYFXWg7mkYdOx42sGjiU4YuM1QEbZPQqBmdZRNY0yGY8v5TIPyQomx+dCZXlJNq+uwijHy8nKmu1Jm4GJ+WlVBYbrSxtF115WNZUNra72HnF5axPb14OLq1VeJBEnzThwcPeJGE6cig18shGo8l8CCqCMOhsRJn9/eeo3L7nrD4/ANUkY2OW9zJBFEk3qaUqrXUM8SvKJ0DPPZAjqhxex3KqjsMLhEuq8uC9yrj9pMlL8VFcrwGcJCb4EuxbJJpU1LoM831Oo3hfjWBjhA9AXpHFDud9xaA5giV5rpg7/tnVhc49C3JoShN8eUWhg5zChJFG7Sf/q7+pCxre/3/6+yG9mLcsPy2rDirLzTMzbUzlBvdL/KOLqxMk15dC89XJ4c9nFbV/vHE5mx4+QWm5PC64PrEBe7+SbbjTemno6Uq0MOR4Oancd1oz2fvD6Iz9UuX+YUPjWry+IoQzhBlb0xXX5nSp90eZp26emCzIopkHRetf9DZDv+e/rbUVy589T7kpqbPj6TlJoCaFd9dCktJXtDzqcJ0MbXEnnz0zZ/jRtSvqcphyUutL+o3PbqfN8ZYnLrcbyIL5Yvy7dY5b9gwZM89Wld2vwFTTe545+MBiLySLRXiw2wks4DyfzWtO3MRJNbTVANq1jdxkruR5HFsmoeYPVhMMMHtDeU5pVQC5c39mTqr9S4rdNdCtbkJEBy9i8aRvdQiMbnuQ4u8gKmnH/I3qmgizuiMJ+mHKnbd2vlhG5QzjipshyRHaAHdXU62mq2AlUEwwKFXGVNFcu6tpDhw/cH+gA4gGICSTqwfXBT8Mo5h2XEPvUfi0qOIVsZAY3vIAPiI5/zRDcHlfZ2Md+SYE+HcZHCXiiw9cCHXDqItiFGRvxK/1ri5Fc2pKR1CVE9OCdruWxK3T9TLaccVqh+c0VsJ+cl7w6ui6byzB7jHxLudAYyZk9O+Ro4ZEghMG6iwglY001RAZVR+1AyEWh8iqYMOcPu9fhefKekqUaLyaA+Iph5KUqEHK//2mOCaZNjZ+DAJI4rfcs7RzIg57SB5I1yk5lozKkAtbpoOk/0ggYwCp4CwaDhyD+AnaEBWimfRw93CflwocUzLyB4eq/wxq5FmtVqqQxUth99t+uYBwrGCwSNL+DB4dBAMHfwCP7snwvJ5p9+32wGeVVk0Bb672RzFiIxTN/uugwK4O5eGLa+zNwLxqRHWjoN06Hzj6JmYbsDnI8g6BKba35v5VwVe3gABz9sGxFrkNbHcME1Ao2nl+gHA/JvRdzlVV5F7dHsZJAV3zAuAUp/0+85e8pUDEkn6TM3uE+ewWpJkh3RWXmuer3AWrvHBPYmxysMSx/6ggvZFYYMXIOa75soeVk3RbeXkniMOIdqD8+HiG6vwxTpmHqiWmr27G7DwsSwFIyx1Yzeq8cD0aezEFDSXPh5J09jtaC4PjQU/DVI9cGr1TxEYNsNQXr5/R4xkMschXadu9TdSVX8JZVTr1wDGTqVRJWPHmwGQdNJNkReJ53dQ7h62BWMwywK0sOKjvBYyIwfY8eObWlVT8PW+SJfOfai6R0OBPC0mh3uAWe0ixtpv7j7ow8BhHNN7EEYJiqmQXFh9DSmTSStwtCM1L/dwCQPmlzjpeWnMmDpP/hx8i8XP9WF8txQJJq1DUkF+4GZmSMpTL7UOhKoaUSIl2FBbBqaPpaIITreCZxq3sGRiqZSvc+yKp8n0VkFvKs9QF4J7Wiic1ePp5A5WReBzvXOypjJpZhQ/IIIhJjQ4U4zOlrXeLVUld/sz+yCQZuspHSeEEecMHAdj3dr2pIDNUOBD+ArmKLVhObwN4J7Ov+zRZsV21iNkcBH179+vDFDicYe52NAKOCiNiQrZAHT27nvt7ITrwS7DYkIiNq/gWvAMUJh+Shf1G4hTE2gXha6/sn7jxIq7IV5coFFq1hus1rY4JJodME/Z1p7ntoP0VYEZM9Wv6RbGXyKcQfpGPIOPWCVAFBu8XoZeMGRiGUWcqSDIj9nDnieLFPmzo3Y1RWHfLtgWsuZmFW/56eXNn/VKPgEUsPor4TGyaZZZbHbTyfxyawhsfHU7Vm9i9Rl469PvLBkjhSu/XFAkO6rYHzsPiCfJ2TzOyyQTI7iK2/HoJGPAUyUbSxa/ZI95KfCYNxZSA/MnQJXbjZa98FZxbhXVeKTmN/Bg+1uq1d7iH1OPZ+M8CkCbd7P89RTKc6poHJtb4mk3nOyb0HzhvCP/DYzWTyW3PDDR5igifF6a9z0EjllxU2rLbnlcGyzUKD+uQIXxe981QyawVXeHeSw2HqdXEzCymz1MWkK9Nx8EG5gKA2KML6YfplY81qvozqOaBU84fUA+2fOv0ZmWd1HhdK9batzfiVwzGDpFDD1grGAcGbAEhHtr0aDAHsoc3+jXbXH/6zXQgQE+oDgxJE/kz1/jhgPc="/>
  <p:tag name="MEKKOXMLTAGS" val="1"/>
  <p:tag name="MEKKOEXCEL1" val="C:\Users\nlarson\Box\RIDE Knowledgebase\FCMB updates\Chart Data.xlsm"/>
  <p:tag name="MEKKOEXCEL2" val="zzMG_Chart29"/>
  <p:tag name="MEKKOEXCEL5" val="$A$10:$X$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7a23a04e-6c8a-4a9d-af54-fd703848a463"/>
  <p:tag name="MEKKOEXCEL4" val="636415177180052596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TkYySLXg3TSIe7gT+Jv77UvX/ve9Z7PvWyxo5zjO/XD7WUdUH++djXyjiAfhYXTBearDBWMvOx4w809ygtPROYuKJjp50A3Q3Eryb+vFVa3JSsTdZtrKed7sY6YKVU44o1RINMQq8cIawD30w27vtt0WG6tmZyJpsFNwKT07059j5T5srSowOqeOHc5n4qrCMeEN0d1nTP1BGaFgHg8tKAMY6mvVBbQcpBT1osBHY+UuWyLhAKdHWDAVLNZL0dW6LoA9NJilmTZhFyPFubNkDeOulVVxgvSl/QxbWw27tjtosPMouvHKz/FEn566SgeFycph7q/Ok5YfaAVH7/AyBoOmu2ybv4rUPvzScIpc8Q2F7Hkj03L0i0EAfnqogA+eFd6rbDQWBqruDZdsKCIhHcENHSTddJMl+LTqviO4wtF/cyJ9B6qo2Km+XKKnPCFC8Axsl7s/xJHc0xIomIL8ESrl1CGov2bq62umpPZnx8m0apOvOXYMA6f2bNp0afPnhXN+Win6JS84ef994wtaNYvpJRKAhGmypajjY1CtIpczoEJCZ5vN+s+pK1M2q56OKWMa4YgeJyX5zPwECmsmo7+69cM18Bd8Y9vME5aPaef4az5TOYqywEA6kLWmUELLv5rbOd5FcPVI+Va0DrEmv1bsgYxkQqCY2yrREX1Up/al4VYKSqmcPDXy1SuIXj519+1XU0ystvSKoIq0y9ZHnicJQQga9MwTWN8buvrDdCAn3BNgFRF5eBe0mrHsjbip4q2QBSMQMO6x3E0D01stc85j0kpjw+0qQzQmoT32i+ejDNLiYZTTxoRx/NRKdNd8fGZDN7MY1f5MRLAcja0GOZLT20FTyJbZds2A0xGyDqQX1aCxoANjKg0aQyReX/5T02Y2yAEanGSoXX5FjcORP1aQOFSttBsGhRyxhW5uHs9SdZJSXG9LuWNRA+uwo55SZk9RQ7XtB0NvMwRhQALhy/gP3b7D4gnKdpIv9qq4BNdSF3KZaL9RlTuzZ4Y1GFGgLyysgyrWBVDrz8YrJSjZrbAok411M83ESLB1NM/rmYdFkO1YtuPvN1eFsyd8lcriXQDgKz20R/OnERCRFp3hCSGNW0kpvg4uww+U6sko4MMpd88m9VgzyRNAp+gEam1ms5ExsmPHmJ0G8rf6zuetg2UVmSIgE+jplAs8WMckope5Ofe223jmb+gkwS5NLP5cQREaH/zNXDGqEcyRNE3QyS5rNa/So0vRC2YcTJfdwT/K9QJhu3+1fWdg3mEmjuL/wpbgfzPP5MnW3lOhsawSygzu16swJiK2oddHh4dJzC3H5QxRDIy0k1Ed+0M0aUD5kJbucfVqZTZ9qK8ztQOi7IEPo2DnWdPKLeoIW3bZC90jP8imYcfHrCbUzhprG//ms9Px1bUgIy8NVzZts/6xqG9lbRCLkW9ez0bsuxLPmNALMSjZXPVeOyiVR4SracKzpuFDiMyxU/+41ucFpklh5bZVzm/mDJj/Wx7+QCrHP5I/b84BZRYcdfw8cw3DnhpTpp+SJV6p4x2g7yRbyCndPSRd0kqo2piUJSX8DpYSQQAYwiLMVNQE8qUyi3fv826TNQsGZf6gKKV4pGWrZ0PEX4TcGk3vRXecgw/hbWMzbVPUoK494YUyLS+VNnLU2gbNwYh89oDevCZEPxeT3VmShQUJ+lS5s/EC+iKwQyQWre7lLlaueNPW+EMtSJ2/xB+An5gGJAhVChmi36kurzNk3njfMIy3YdDh3Q3pNhBuUkKJmSyUMk3zbYN3vcGwDKhGqYwDupJ24AL9Hqk0+Xs51fhYAdkldHDepZJjNyUlAQ7HymoyC19aGf8jQ+BVIHfpVox9R4liDoA3Kj08xr2FWjIGp5wvbZnyf2YWzNon3Lvme8syB0OpHGnU4n6cFRCl6J/oUyZGMLh1W+ZCRMlC1fALRZlnUZtYeeVcRELa6yoqBgVj2va35h4adQw4bBML+EBz3DiwspLU6dq1HdjgAOliGpS2i2YpEeTA6QSVuF7OxPfAfcLj1UHu6kyE32EqwEimqLiUnKNHhB1EgzmAlDdfm4+J0l/EJ08YMMo/RJUAZiMmXdI6t1LqH1nsYL35qx8KIwMrbKxCANsFwh1Vh7pzJexB6Te4lTNeymw0Rm0jqAInoZaT5epLTo6y4ZWGdbEK8abUrCUGLnkdXrnYG7Ay8z6KE/v0e21fN/n8T8/c8+rHKpKFk5hke5+gzAsixqkjWnjtRsgS7U6cx5azNmkqrOzgglzVp+QoRVupWYirn1/BBAkRhrKJaMGdX3UEk4B69bBicwfh3TEjNm9NELROFNi4pTO8u4QpfZARmTpfuxMqsTLwMHwZJqJQjp3shAw51otXKIWJM0s+nGs3NaBjcIDvCq4ljzz1Vywa+6d4ckslm9LirXMlyMB15IKyBW+OnTG9Mp28u7gq2zzjFkikeOdze9ZUvnh8Pa6aIijTB2ivuBBk+bQ4A58wUy3uGX0ypPHGUh4rbaTDPBOmT8RWtpnTde9/pMrm4R2HjjxYK4WRJtT9c3bLMdXIsCfJD6avOpHjN5TRnawNoRGYpoc1jfeZTk7blcP31IElewBZSTk//nhNm6T+/EoWijPKqXAjmsfaf02tT8fB0GT4KThd9LncbOJzmiQgTK+HH7KtVt7l3Moq2M5qtIv6SAdB2aHPW7ixikuJOi3eCBtMeZRYkAxBdMa+Sr8R6KmpqflWxrJCWxYpncmq70rYOQIjh6V8ce1BPdGGn6oMnLbzL5c1jFQBuEzzJVgaFJYn7dgctzpcRnBQnpkSZXPIre8qmuRCUminNzPIcFZxzERMsZQbrc43wWANgcLZTmqe4Y4mRtPPSpUdIpCMcvzEgImsUKMcDxv+UsH8hg4Q6KIcyH1j4LXAYERwYNagGI+uIjvQjZUg31JndxQ8yl8O6rg1TZ1MaAfyBV56juUXrN2vc9JHIMQkTfze88dwIvqqRfwWdexaotYNlinve0c91HU+h/lWIA0Jm3oGaRHxEA46f2GaXHLSDhozlqcFrfopIuB5BPD9U44q+UaNiYoezLDYeSHRLYDYNL5Iq61guQvSfbIDwpgY2hWCyAo7y94XHMolL8bvTtZJ21cH5yRitbW6Br6bcoNs82n+mU2feYIoMTYdOly5dHXT08yPWLibAoNR15VtkZZPYFnWCNN7qmYlArPxQDXjVywH3LhCfkLcbocAV3ROHYnFh3tNd9+ERn8vGyc9MwBhdEpWAMFopiOHB4PIeM7mpZQmrNr4pgRQW32MAFh4m31o3bEX+9I0G175JO7G3qHCLZ+robkbhq88ulh6H1pW/YgnKAYaHkpNEUSAEQ7k9NuBwwunF1ZtpizMZsC6gkZRJfzpOVdKF2MTm2Ak0+whWjqo6JcglH7Cwn1iVZd2AGO8q5fjHSoiVOyU0eeAmBeH2e2xdSloVP/YL2qu03EILnVsyAp26DVwKOdf222CBSEd0ErRfxEbo20gY8JhZ8koQDanzsOvRgk53sz9MfU2urJGtzxQIQl6xoKPa1Y5nUemBWFA2ogrJpvrOVp9jqTeWFztTULx9R6Tbs85O0TOPXRsTCf0b0RJ823zkDlr5EqNT49DOLmV1iI8TxkzZpYAKjhSF3gaJ4y75rWGPXrgjPxNR9zgFQJ/Ri7Xv5VHsNDJQQlUrmYfld6U//cRmjI0RB5r1gJ/K3GU5IZHTT89cqlRoAA8NarTc3VlAm4gmqd7OlvMl1yFicfXxXMhlloq5Hy7MzMRwWbv8V8DvuLBdm53VYoPdd0hlfHbT36pE952GQyp3iwzXcS9/qzggE+74Qdb4Ei0RRJ3FAMxWW8x+4MKGwuqdePu3b87jm+SXGXnwMi7UUn6mXx9CZdXf7f7OPPmM416WyooEIC9hp5Jzi9CSMEXNQ5izQcnm9b+WWxb4WQOxV4uFjT9uKBsZJ2Is0AGf45EqyB67/9I8LZb8jr3AtkbEhYr5sPKAoO3rzPU2bcS4zPKTiVsY6G+GVY/UVmW7Lr0EROzfGyZ2nvxtTJI7sex8Peyun3RAqEVP2IxT5OkKV7nFU5LGBzQSwMt/1EdU3d3TXFY28ZsVwMCeVDJ9fc4xLChR0uGx7f34ceb6pbgWr0WO/KFs4cFq26WAoGEspAXMuE9dQPNHJDs2uOkQPrkUQcW/WgWINKSYsZEtlUfPtsCMbfzSi+6zLJk/CoUSSUEZ4kEJ3bX1HQgTxYKNXOwKH90+qHbolxYiAS+WgGJsS3hd4nEoXPRcwC5mNc04cWz0i7DHExkYx3mzV9qnnuyNO8C7JafTEzsXsiEPu109WQ8hudHcABkFtYOBFbqPAgBqDyQW9he7nJdTRNFI1+O1kyiAvBCHKaEdi74kduV3UZPH4vqFZ/jdOkdjDMYX0rpWblJoipiuKh0n4UN1cUUEnr1roP4g4TqlzPRsU6LYgqSCOyBcjXmtetG2vZ0b1UMxkwntpRnCKZx05EDMK7SJ9LIegeDil1X1BL9G0mCDU+oJGGYHQ65aMnFTpX0VTIOMauAKnq+otB51zoROihnH40tNcuvCGbs1GSmMbFkZSkR05nwBXGRLAh+9kUCVL7rU3cTTHO1DwepzaCn7eeX3mjtDnIKtMIhyAbqQlUZG4PZzU1MoApIlPRhpeRkAT0vdMnTiFKu3ktlHNa7Yjc8eSsGr4JjW+Z8EjPeJvZTUT/6J46I6YsQUNuZex83jo661iAKFeZW43vRy5x5yVPC94vQtBOsCWcYt/Q8ZG010thntB3ZTAp1Yb9oNBk7GUso5WTWXvvmlSgBLmbAovYGn4ZKG7RRQBJPe+5RORxoYe/noAuZMfPHyiFBGqYh73O4S+xT3Z6Lzd6Yj/HSCuyI9VLM5rE+XSoORn3nGrc97H3x5H8vbov/NmtkIUcxrN2mMKZ6NtGNYUWA3y6TeaqHijfKgTo+amNPJ4mXCrS9fHeUBD+IGa0fL8+yys5lu2JVxclW3WMkAWNPQN3mR0kvqiSxyJqtIk5U4B9Dr1FiaAt2xcFKMbtlORBAhM0zk81l+VRnodcPu41QHF6c7QfopK/DwTf24SsruDDXtXnT3IPsqRLMX//LpPsZiUKYA4HFT1F6Eo2/HjnoXQFngzc72M4Z6x+abH9nV3tSszKOoKieLeLNEEeBAYjQNOtrhYmK7bewxEVj7swBGTh5pyfQ0qBCzA4T9Y0dEC2lV50HMawtAhXJGOhI/Tytj9F/lpXe5qnAwyq55erp5pk9w3369bvls2Qhu/Y+UpiS1ZMyJoPaBWiPxWa3Zrnwa3Fvh4XJOVRj+1aKp6doSCGghSRF2wpB/K1Rgnf0W21Fsg/8slfvrK7bAdS4h7BePoD+fH983/7yTsy5WunSTO9oB6BZZAsticM1h8xAtp07PP0+gWkC7qr3q2MkmZ5sZQV4CekPGX58D/V0kkvxMiIsVEouNu1tXDVKk7a8bLtmlsa6EMKph+6huaJCQ6B5hw7zjcs6tvJdLq4zo+ZbXzd3IjkTNyFRJUbDiIBxyHGoegDKexYsoAyzwzLS+v9Rwm0Rle5PaLGlUAXB6Ru8glbZRBLwQyml97PczB7YauFt1TzK9Z7N0D3oGnYFtbOUSHuk9DPvgpfnqSAIMkj/gZYbPNU8oK0A6S/UzP6XE4cF5zQJZ9WNDpmx7zu9eQ5DOMYzuH5ObCoodr3R/WHBpg98CnDg2REk6c/97m/v/OFFaOnk5I8HnN+yOu1XSa8vzyymP51umhAtfE4Cu7TM+o6a18Z5NxZdmWUP4tgsQJtvpbSi7feFHkZUyvHDmEiwPIUmJV/ZP1nDjxtWF5IiQjRQhTguBzP85hdeFDRsdrDjnIzfksHB1p9pg8TqSKVkAa4faO2Zw6D9TjMgcQsVYeZKlUByNrCiphv05BoJxEF46SRaWcb/Csd2P6T/FGLVbkd4ujqTFm0NsCJ3rNQbOFGUuOF8bt5Zo2YvMf2tFiLWtleeYqZY6H5zySUdkvhFfCZsd+xWqVOsx6Ek4KSD9wZ/K/pk1VxSDoHhOTab/SJTyMj1DO5P4enXI5vUnGWTKGZkAA2x5CsXgeOwFUf8jeu8AqqFRKoDA3p1FlY22kvV30ugXyOH0xX7kxfHriz/DjrX9M4W29xrZOW+2UoLzkkjzhogA/3Sr2C4VH6ym1g2J986CEw9NbY1tiV+SZgp88UUu+OwBy/Q8bJnWCdrIjcc6ud8JMvCJ69lmiMSS6MINOMcJwovISv1ndTYG62lZoriEo1JanuwnRUaQaBOr1mAvgEZurJYNlSQ4/Y1CDf6XKR7hhjE90RF+aRDahuAihDO+EktJ0P/tayk02EeHjajgtk9KMTJSCKWxzuTKNCOP60F7ZZqOygO5sRbmZ/ThG0jFmgndQ4j73yUfO0b9unRT1cayKl4mlC3+r3a0JQ5TVOo1DPGly8BtPwwdb2wdmXWia78CYG++hEgjigvmYlH1TsbwHKeh8KNhIwL0SUaTGrt8mSZs9hjsV0oop1ffax7FqFHJBfdSR77v9UQ/tNbbx4ogwzTQLTBp+Qaj2MwFdf6nIHuUkAksieGC1qGJzYPYh/IBXUgWb89xKk46QHKbXYrLJkK9JRXj2LSvd24qaCAymykq6jqVegV5YrEwtvGqydwzBuBQwQj3B7gw8IO2M6e4eEGg92iFwnb1CjeWVozD30HDXFcOGZVmk+o1jQQfu8BKWFWAOhUQ8XwNZB/OZX066kJ/gvOioAz6LvbMcdXyOphAW6dEATD/Mds6ztOi84ChrNxV2GBymZ7K5A0aEFW+OcPiVCK+6mldXy5ua0NSCjBwGHvZj4zwKXRF3UE9LTvRRPOPFNUEynz3gea8CVyihM6572x1jGu5Hv+YSW/iPqIlVxcS06aethv/RNvlBcQDA1iUplpUo4MyUi6g0Nx0wsUdhRnYZIX3C5SYbRiYpTBLROutfxUzz+gmXMenCW50D18lYAoywEXFEk6ROSWlnS1YG+5RG+JzhWUfX6VoU6Vodxka7zUYX/ftGWeiyWeijzzXwj7nY+K1NUBqW+uTJx6lMzWth3UgrWThloJynswvEHlIZj4NVna43kA3DsbmveKl0ZMuBHwz0u0/MAZyvHNiUrbVSoRZ6RcmOTP2NiI02TL83YsAnZ4qx7+9cGR5KxokLSnwvTVUC0e4MZU8RGQVMEL5XMilSlzTIv+ig28/fMlibkj1128fjG0YuloUu5ufYWL7VZkUPwxzH7ngwVohqkPkV80hOWzlk1ZdYrHzvO3Sn5EH/6IupWbMQ+ywX24rRLNbA/QB9ZlY76P6/ha8yviU6XjaBYRSkwLlaX4WZJiFJGENdNvn1zmHBkloec9xcc/0a555E3R0axBNtZlr3a8Ob3qjWfCXxnzcEX5QitXN8Xa/8l2VR0apUIGNPcJRjPmE/QrdxIJMHBOVHDl9seGhHe2c2E44JnTWI6gAfaie5ChHt4EfBimv7TGhi6I8pM4BY5opJ++18NsCp/dtgRHaNr8r+7ECrKnxkZhoPEQ5tnCYRGxxJgXu2veKfOFypG0TbDBBLlroE0goUqnI1ObdmJko9mEud9SiZpTanQqJdLDmjTQsKa62p03R7N5NYCWcdEysUIutJzPKPMT2bmYjOWoZ/5ipnaRw+ljWGzv9XeMz5MmrGITdu8o4A0FkWBFhUh3/IUpPqc17Kual3zdhK931a97sMMyyiGaPBhSamV3yHf96R4TYuNLAJMP2WoTMzDJPaQ2t3wyb4vnBy0Rrc81KxAUTrdIAhpTgPT/rUAfw83jdR9iC0FnMB03pBl1OAuoNS0pAnBUBCdMoR1cn93mrGSf8ILy7fPGLisRflImThNOH3hNOMzBt984eGUR41OQcw7VlDIs0dH6uuQJ/LixnqJ9+dQqZZzQuiSDAuj6znFs+3joIv3+zb4im5Ybv7oxMF/hgbJwuVTM7jnBNVSSAhC2hvY56/ohU+ktX4dXMrqBkc6F+HTkjKkoGHkPK10tx0cqhEm/IBKE+GsCYtVpK3PPYkm/AJUoSxIX8e2sJm7JCGra4aJjphItF5BN56BPsIeT4zNgF6oxdHl1nvA5PHWyKaOaHrV5ytYEfMMMGDKxZJd0l0i6E5CS4a/b0B5YN1awMPcIC6dt+icebDX7V5W0Ni1uhK8NWo2f7qmrWSKx6qm1CEUkF/lPaByWIfhX2dSSmnGIajBUPK7bnYOlBTAkNBL0R1PQN2ZfFs6HTendLT+quqRh4bREU+V7sTmFaSXXoTe1Mu0xoGqCW6W7j43tBFCTGzx8a/VU+raVSBZ6spVCgUwlEk/kCgxo5m+DO7fWiBEi2rPXLLEq98Dd0Q6PTOLtwGF83kHC12yAzHftCCd4+pEe2XmDEaByaawI43O6yuj07umaCEZOIKqACgNEl8V8kwiOzBSYTCqOVZSMT1Esehz3cygEk5SgAzEwyE9B0n45aT9iolMLrxXpczeYUMxD+ikNAX44IqHQMVAmiu5JqsQOGmGpn/6cNRaLsD77wz4FAVEb6Q3KhbICoPJiUFZEXLjh3Ci8cysK1fw+DY3Ief0BP/Zdfjr12+JmQf9YHlzPjjWdiFE2xlfgpQV5nj/AIaXTM2CSNEuKS5lrCj3FQHntj1bFr1audQSEQdf3w/M7GHri47T8142aDrgK4LleY1gxrOh+pAt5GFOtd0qEGSGlJr8xUSDPB/HFaCc2hXhdaF9pnvtIhY7hJp+tH0hQpFSEQQRplb7S68T+lg69tWIPEQMDupJrNKqLSTd9WtAV069a4PK3vEaPnz4KC1CRJDCJIZM4caBIW5U+JZaVEMg8OT9g2uf61R7DMzZJi0/A8LcjSBierYYoYgwH0QKyY4lDtE0mS4MJKPwhKG3Z9N+/KtdFKFxvofPUBDoNOev0C8V0XxSiD06QbzSJeCHrzCCIsE7jLd9/0XooLqDRq8nMz8tZKgiwm1qZVuzXzaUVRJknWNLn0keGm4fH2gOwrHXkqE5nOHVFSbSc8cGFVioxQnGX7kQFRKtFWjgwzsaT0aQD7cVP4nvGFM28SoQhud3EFKFeL5YLhpax7AoXsOtsNstwvgKlXRh7n0XtF+IfClX+OMr9VO/olKB+3looMhfQXtSJ2MlciemiaCosltRlWZkbEYy+jngd9Nw87la0Nkeak6dVEaxxwXzRlG8Ge+ri7m49U6RxcA2+LrgnV4+5VaZ84e2UmGwD1/slJFZ8/C+NFWH4aPAyu5Ye50w2xmsn2CWcjLuiIfmqbmkxdMCydqx7pi67m9Oe9sMMeuUmfHu7OC1xSuQTsUGv63bU+/ZNPERPd7H9UPGzODxuaTpjsv84fmQ904CWaHiUa3+mu+BT5+kh/FmU+BqeqwZSWKgUBej4XfkiydPJoT9xNQzS7fc9kv/yZuVWdReUA2GmpPkhyKOBzJ9gIj+AoqRSC4LnLK/Bb+PE/IiMNlhsTxMhHA0UDWbdx3WnPLkywZwfalH52zF6EHCIwch/lv5BfQ/1LT0kQ0oZm8i48+vXV61lX+SFgM9nelWfc26ZKw93qX5xNTDHXeMbCncN44dl4FSX8MZzEcUaJ//Jtv48V2njl4pNIuB6Byq4qMxM1Ia3OPPPp/J0njvD6ITmFe4m6g3DEt/5NhrZn3x2iAoAFsEto7bVmlvWCxZcUJl0R5jIV2OlF3FkV5sRbHRK5Sopm4C7gLNyjOipNTxRuXlYA0qmSzk4GRB4qBisYnhW2ryl1WqDt2Xz5vkjWoU44AJpwUAzI2rqBpw0qwlLLc4ksDukqARWrVrSSY8t3RdBi3w3m5HbQJkbsJWfCqSMscIUEsMEYQyRbGQbZVPLKDE1H6Vr++Q0fuoh0USpnKQBmz+Wg53l6RdiEKoi1JC26jT96uMDN0brmaO8IsEStYhzvYn6J1Vjup4m6+W4mBeLTUEQGxWJ2x0Dd9U+4ckb580c3KX/m+EhI4N1g+9sT+AJ5Z7eIm1FXsTiAS5D5KhhPmP2NDK9QXYamtb73a/Og9o6iXKRpL7/yQEAyaA9AehVFPVXR1e5DWO+DDz37IH5dLc8xU0XdUIVHTg8pP8oFOSRBSoS3XBl96MLR9gpunHCkfrS2o7MnA5hHbK10KvcQ3Ge21nX19yHFJ2IOt65hDdoA8fVFXuJRPy2FCS1pHuJTspXmtZrFMAOY1nnJwDb38bMSoiCHfvLCxszxnCDE17u5Ue7gGTrHg0j18Iw5xko44HloaWhA3U4L/X101mpayY0xQwZ9H2JQzQNN/hTAWVi8ttp0RncXwJ0bhmx633o/et4HUo5U8XPI9E+EBEx9jh5hn5XOPIr1qAisjl/pBYUqehCALQnX0eKTJfydfV+/aVCdc3NKCmSImVOMMWZE8EzO2hEiT6mt65ihxXbYkMeKj7HpuX0U2yagWifAn8LdOgoVtBJW8gqqGGT9c1MhU15+dmz6FLy6FJoBQLJewNfa2TitLfSnDCXL6cB9rEDqpX+qXK40BrOXOVk7pcSCpCEdSFfOwSjKV9fAl7FD5ukljavtGIuerdfL4o2TRvp8npm/rF4XY0j4ikCOoi5n0GMgSoKZRZVdVNXkXXRlO+sGbbqN0DazzYVsAvc/Y1O94qqGfwZ8hUhKH92RnqInVXzP3RCnYgiRJsX4pO7lsCQMY0OQc6menWV5bIauxdkdGBoUZXmSGerKuBUzwkZHNt3UO3OblDNUtmS5ow8MbHBuxWGPwnq8aIw6AYR4ULbBQ05x6KeHq60ogF8s6ptn4ad3mGq3hsc+KpccDoImNWK6vPne+45IVDJ5FdujOOl6vjIAH7CzCCe7dQ1loQZDergXJP9jd9nMaiCiwtjo0iPpRz7NY0KfTncBdM8rgBno+J+u+6wxxtuYdqCB9iuQEMVsKhwm8+3AhJ2A72wF/IHq1I5DzFEUF4pok/igY4nU4MT6cX97gz5kUrhI8bxC1xywhLsex28i0pXbb7cm3BlURoGXmp6DnT5rSfwGjTzPpLcsJjMdOZ1KrAUkBXggsqhQokLcnlBE6BsFDurD9p1uOsY4mLkf5wKe8bbRHIYZjhqHhpi6+3czbqXa3fojfTHF0LBmOpQuujxwZgvTty20Edj7OxJQvtbhxahvcdFQzSDoXr3ZRI9PPBONLV+ox3OXXJjLZ36XUKYxo8i0AK+zodYXY0jL6PehHEbLKHLPCd9lcULS7Sytb9BBo4QwdJ6m0fXvdg0h3x1Wmpj/OtlIUXKT7nYX75JP9TspZvnoat6SznSTEY9jF5JVV7bClS8/el6St5w/LicQhbFk9nXB4/PT3l4+lAvJKjPu1GhGFE2YyQ9YosrrhZbdl80DDGBgiCX4L3fvhXGBxXszxzhfh/VTCEyhbMAe5Z7KI31ykAeScr8536FJhclFHRLpLDip345NL/I1RxcSOlL4ZEDT9Wu2gd/HkIcolD+stADj6wIr+l9wEtxvtaixRaFukg99XUbQQ5X24d/Nsw6Bzz+yr5KnfzG6yDopwZPTs7b2V5WS0kUBbg5yVm2Ive1p0atBSqYahHeH+mdNZGXlSweKIrFIz7miljgnA9g5L4Oe2onyqDkd002BTHVvDq4JM5l/d1iS345JrchliBt98eegUH1Mg7c5BH2VAFP7h+wcdAPqjIxChqKMap1DJrwVCD6oTo4p7FcXdtnz/02LpzBqFoggvBjdXYtm0OleitdMPrNAoWK5aIL3NQgVeL9qX/Ac3YAozYfENhaZN1ctnKY+KkFuEZCALyr/XMkAliuE8w8Fhy4qBCj47+rmYsxSYjVe1KMsUZnTnVLiPsAgvRzxEbm1ldIOWn4A6XSQI8xay2FOQUrDHJCr4/Cpml9I0d1Qqz1BAZ8m0qyF1CyZlQAmVH+37qYFoL780z5qYyz/ppEPHFRTYGC2OtiGfS7vWdbj22qOkg3drfJzL69+8Nefnh4PeWHoKlf8UPr6q2Ahica9Uc9AwfMRsPjGuEg/CJPOZfaetgoOtLESrvewF90aZW8Dq9+G6NKX4XLDczKzO95MpirDlFW2V8tA7skEnCIyKvcnRWCNuoqSscIXNQdTsRHqP3L0Y3fovpiF9eGLbbp872IPeCo6jdUZ2tUfJXqrrd6zcxtt/b/pAe3ehOvIrigQDScQHpkr390Me1UqhgBVZOEuWFYaj4JBqEAAuVjTHQsm3LPVg6M97/FyqjXXZ65bHge5z8n0kqWutFCat/jcR+GYQ95ctGD2ej2TZ9LpmVXiStMaaLpCDFmM/9eeB8VFrBgjEuNuEdOgMaAQ9PPt2Ks4OdlMrCU1Ml29invktJQs/Djl68yc8BU67eBwtf2hix/LZVFzsAHi+wTk1A0ARHFDarFNwh7mTeIcCTR281Svixm+Iin+thniDX7sr+ONvRq3JX1orsOGZsYz+4Ld0N9WN06k6FJos05YrTW4+BbDYCj9MlC6QenqG0LFTsNlJHfVtQVYNAYXDF0vIk/qSsEGWqjMA6UufMW9fQS+mstyHaRJfqC8YGPZlCWhpZAjR+PohhaSzKOxndd/eEuxxm85EFypCVRMB5cSXJCHWh9LjRNmh8vs0Pp5Ltcd7rWVILKSXEJLmE8xFv+a5M3LERlOL17hstPjV2fYMDONhzLZNduH0AUTpLXxBvjtthTJr3vdJQXzVDz9I1SvB75XbE/aVNJajawCIzH7h0btXtwKeTkBfDncbwpf9xpQ4sFMgA3NvM3tfUACOMpqQ29udKXJA+uwA9beKtzqdsbSA7+NPJxDoz8WEb9TvqDV1AfDS77EMPUrApvh0XP77OTwr75+pw13m722WVsDN7GownuBD0e3ggJrHekTtffONIAnrVmRm6IFRmyxg8B8WG4EX09bXQoxZHzwJu5ht0Y1TpKpxmq9b19Lq8cXZTr5WBoq9putthtEX3VIGaNxoFAOeVBV2Rj1OITv0xY/iECsJvyXenx2lzaVnFcxKSqDNvcKgabyKR4R2ovEBWMbUnZo1ng1vlsJtAtH6LoZDqy3aC4VXwxvkJjS7BA05O7N4QuPYRLNhCovRP3P3YsaFEXVEOqdfxb1e7ZP3Cj6Gln3O/M3eoafFHmRKpYKQ6GtiU1Ljb88PvtJVYeHvo6s39ajaHMcyzl1dTVTLoMstq86VW+x2Btur3a6jyh2ahTlGxz5BgWFIzWUnpjuEED9IqTtE7uR5UTey2ISTDefV2p6JAh4q3W9Ic/5hZU+eOjY7zzn9gLHcASaxUomgta80jmcNB+3sA7I9bFKHziGAKr43+tHHPWw+Eu3MULuop6nvT8wVRgzGbz+JkzJqkZpuoCsaIGgarVZEk0PYfoE7HUZ6Zcm88aC2Vk1Pwq5A3KNfMzhGcbMant1oVhZzCacFmp4ElDsGmxqHbvfSkCglkzpAReynLffKFSoahLv5FCuqQI+tKe6ntv2he+HsUVEIpnVnczXhtvdPOf9ZqbppNHlobRu5zb5lnXEzwJPJ8blzxGIcR9NsxJ9XtQCXp2+ob0lNtxJCJQ+TrCAl/AkdhxVUbDiSsdkZxBLdGzCdib3ZOtVCnuqC5GHVRMU6t2i7reSSOPfpJpV3H/nkJh9GL7oHUOBGNetpYFHLePAKN+sWXMpOV5HRZZLNZpWM6/nn/rD5wehZ3I69wcBaUuEgI7xMn1/gV9UYDl7a5Vz+AaU2zLfE+PDvkLqTkxoM8NChmMlrNt8X2jtj/3p1e0cuxqnY8GKpVvpfs9nLqJ8BZLoQh6VbZNL+IDDx1uWVKSc94gtSOOq/TBRs2XVCaGJyqicnkjKRV/Wg8TKCfakgzAOhCgNpBdP0yShLZSXCWqKGE63vJyGc9U75T3ZM5YY0CfucW3knpNLLftwr+qiY77v1S+JPdmN+zR2dk4e4/VfWuLRPrhZPga+MeFUnAG44ObFpU7g3d+JlvZnmrCZEgvNx0xYmYTl4+pUACBchv5q19iyQvtXZbabnGWdVGrFgp4aF2oIv2jltgqNRftEafHUaRGa0TnN2mbI5of0DyQ8pDRtWMT89FBvvhUYqmHmBrmxuDd7ykGz51rXYZcXzu+tyL7JMX9OOiSBA0ylzWFW/tkEyRutZlfyy20hmuFNIctR4JXfCtV1O92dwXyckkBnwp38Chw6D2dWP2oYWd9s/ZX+JaU8uSxLBNnRjh212uR/3NQSX8de1sFWFjrXnCRk4wiG/Q7j8eybT/EfyuYTTxwyC0aDHF3q9S1rmBQ48bW/BzE3CmW4+4Iy8/SRvwL43/DGzAUNJpnxYB1/Gt5tN7PuqnZ7skYGdVbC0d61ENRtF6RXrOXbhNVKuNevXrfNT8MBzk5WXbSPzYi9atgBlJPDGPpcoRA4yKp4jke/c9ib+Bd0H3b7PTVLeX1HY6BfIXfnPbGDHul4nqu4YCimV0I7BEQB5L2kISOqAmioSyWheHwsNhCqTgrtaC6L2LXO6PqZqyHxIibBuLZFS2XXpg44fSPn3r0fPmAq6vBp4XGH3G3WXBA3grI1vh//FKrjlJ1FI+xtp3jzmEYxpdtPaS3H6NMLfPeBvA2beX7V8wcmrZmNLulHVd72sIwZ7nq/B7bWh31V9kira60Jcn0BBnPu4k6FM1ktm970/Iwu63/EQeP+xpfbboRnAoEe5515IJBiviQSwxL/6qGDIDmfT+Zzxogmx7xPe+RU/y8JBd5c7XLDDsiSiNXGfShf40i+9D9zh0hOR2mTGyqeuydDjgvO49Ebl3a7EXuLV4g/6tkgPtTwqm+P2m1QrXGsPWbidtKgSzeep9DmU9otNPg5hzbOStRhzHAfAvT9Ds2W6I6B7C7PFZbuuXFDYeW0BGViqzLYkj7ID62qzv6frOFsk9vfDFSAw5a+Z2u5OfhADfXoNMS8v7Cxvv9pfCizoViE59Go1q+Tx9L/9Enw4HBMUbyMSQLuc6gAIqksRNtf4zc1NkwNKGFQ3sNC9hfSDgRgV8OWZHIYMckKKurzoa6g+sAC9Z/izmJ5XZ/Zrp9v8+BD1mRfFVnTWoCyF3m5eyXzuD3ZFVTPqDLIH8QMeriS3bI8x0mbpJ2SoBxc0TnY/BCCTr9hnMPOiiT1zBVzc5wfspxyo4Gqn81wFu9BNuiAfE1irzEiRBWHF0P+iVjKSq0waq3StsiLBJqdxLbF3yfRcFoK4A4nmJgRNw0mJmH/3EbQ1cUT5PFNaP0c/ePSb1bH9BoWplI6EFxSZp+eiXyQJjQKBMrN685OYpBM0TUcCZRjAdGTGwNhApOtbYQWv/QZo03T+W4bndPkSkToVB87pJD7FjLNi6OQ7ZPLtHqF/rSg42gXm08ei2kUVCggtpoyWVcVZOy9zOHrWkNT+BdeeKdny1dX0CB6yzW8VwnB4542rhboDIqB1U5Mv67taz8BkEUeVoW1LLlhoUqJjoubQecGIshDcQEpFDLgArqGRV/Bp6ZJUTYDTANlfxDsR8xi84UDQtsBLaQJjP4Pbps7qAb9DxtFH8tE+bFTN3z3IzNDHkkKtMLLL8Mu6IHTsdi85I3O4TKTZR4XP5cXe7O7VVNDZToY2J9iPU+6vo7EopXmJVgyy2vUSJknDe/jenwEZ0V8oCiIeOOFbmiJn+NugH3Xaa3jHUZjTrD854Xr8c73Qi8DY/lMRXnenlDIPQJhAeMPZdA2HSuOG3HMy5tjzIuqyUYuH4FYrTADiXsRdm9sv0HM6ql/cF7BN7ycCwq7+5z3PB99dt9fXmdBvnqiS6d6A8vn35dbmR15F3eRzZw5/oXL77TVZyIT8m45Gfr//V3Qk/9WSuME3sPNaVKOhL5zzMUKHnzwRvcTEWlOhJBnE/NeUu4vODBBAU1yaiJSoYjaMVd4jCQTtWdUsQ2AnZ9f45U9IHf8wkvM2cdbvN1PqgDUbKfrYs/EVuDeBhWosoVuCKbO3TIaVbEVyFcQv9YRiXORkLsdghsqOBudDnNtgzgtuGUGgGd7HkZaruOipAW1n7oTkMECLkcod6Hsq248FtrQ7Dec7oC08lu/KeJjem+ENxPUKMVhO+JNn5wRM1z3pAbaR7nfVsDzZu0JOO4boi+HWjqwQWGSQ7GjWtuYxfH+sTWl618MxA08n4bdNdaL5GHsC02wcAcSs9GgJhp9ZFnX/xlYFDDGoMwmKXVc4y+yw4kiBIiKXSzszg4rxJ1XynN4JloQuDOX4PGq6h4/c4pTAiAionBKvp5O6jaCfsU5E7+Ct+zRphxppEqa91IUdMVuxRYRCLrmTFQoQ5Xt8cd68HuSIhRAxWMkQP+HE49UPn17lTRUPd24iMsDL+i7Xawy7bIQg9pO28vlr7JIGAk5b7UQCKRe1fTD6vSrnP1FjeYmxh10SLjwCO6owVLOHUgJRm4sbSgBM6xOD9tIf4fKkFyLmkaK9tBlQ+swwFyCTC0gs632vfOBUaxbrXZX0ySntqOF4x6D0thAv+r2JzICRADWlXh4N/Dz6PN0RUUE0uDMQZ3H9vjfOKmjTgewPIM+qU/ePq1jEUW1rnApdYBH4uhqDJgu3VktbI+muHyM9lZq7jD/0irkfdBbUEZAMluXtn9PpcPb74N2wgXdOY54FXBU1XenVO9Do7Y9KAAXWChwxgnz6bJDAXCnoJxu1MovjFkodGgeTnbM4rvSxMD3r+MtJjTYO1QSfOy/NYiNt6RgDue7NwYODQMol+nJ9b8YEv4ffwP1ttEkIDX2Rxwn8BWbghp6Of547I8af/phd9IzFJEj3Vw+nMwKaIHaO+VlYoteZ8l3RhzZn2gOaVtsckKwm9dGbF789N61ECgahmnqdefvSk43JBu7dUPOPenaxemWMk0/fjwwKef5Yw+CJiQK4klLKRLUxPrz8vxM3a/B6tc3clrEgu8qkJwfvb0MC7aesWMsSyRkCLLDBHu0l8Nt/2KsmuzC5YlpOIKa7q3mjF7xGAelTt4vdEvcDZCq/g2J8WPVIGgaqQRdtZdaBeZ61MEnjISZfieakFh3SW0YPbqr/e3So2jVu+wToR2bn7e6FuOD1Eo1tc1W+D0TXp0Efzv6tUcJrnLC3UgU46seNop+OXtJhNig+gkVfVOCBQKjSXYYN7HD1u7xIy1DwWUzwkkmQRrTKvyYBALrn82RhKhbvQa2y3ENGykM8mUfeUCq2Av/eYfQD5pud4uYmcL/Ft5Jr1bzzS5Ynr/ihRPQMMhApQwnw/hJUQizbu5tivp5u5LkucugaYMdISNMkj1/GIN4JezbAOxSlZsI0XYSp/FWpVudPIpEnZqBKFacyuN2a6mDidrvnKO3PR5TmeygcWI/cnm/FaESv+qkAjU7zMDfGgd2zOZlpvVvsLyCVAT8FXMVoHDm15mGtsUtwxlR0kDb4FeyRB1QgpRrNyNDMxtCGOtNT+fFOw4Phn7JJFI/p4kBJ/r4yGzV9kEOF99rq11pnqRzkdJUxwAGb3xZ2hxklEBHPGdaBkXLpaiY2eSgo89SFpoukSl2SlSTpm39ifO4XmNttFTyVHIteXCHomc25xBtl6puDCM3hjmA5bMzf2FfqxMYCs6YEsSPNZQgQfWF8b0n/E7IjCbpY20pJs7ae+Y4vo/0r3/bYPOHND+ajNtepAlQMWJdVNWhdzzpjvPdj7syoha06/vS8rIJagr8e8yYanCbmLG7ydDABGkiDwrGPyG7y+RlcM27dnx5GrWsiwrr+yh7AIavHqGgV+aKqe60/55YWrXvyZMYwXb6WdRNS2oGEQu6Y28Y17XECFgvektcD1vbGC1LqZfvtLOypQJTNSgHCMPxmItKzMSic0gP6iqqlW/znHvgjDYkU2AdvUqYgM3A0sztkDRLFpmcX90PrcIfEkEYQumhMFKdAU2d+GyYCWPPiLBQ6JrZrEKT8x+xaXx7UoddAPF9kWrf5XRYmzTjEXWoBcyW5iAnpc6D0qSq7FvfZNIAyQKHzmqeA3rkalHisKk39QYm78QW7fGJ1jrOyLACQf7EEGYAG7sboGyG0vvlrstCJBa3NQEMrdR3KNXnklxyWl/6XIx7zxdmF30m3XGxBavGXXCgaf6fO967nhE2A4rW3rMkVROpex49qJ5NYklKmyCHv61H6lyG2cK7gK4ilxA9VLsky9ueBO1QwPu01iK1Zp/1TQB2ekyNoW/JzJdsfD2/RbOMvkSMAy3JSLoKJlOHWjf+raaMHU4lgiaQsXB/uKzS/PACmPMPp1s8F71/nbWaoZWW7+jI5sNezz5sIfhHa3XCKjlRH6zMghDw1i/NtLdAg4Vf00AvuD/YDYq9lFuvHI0tn6BnN8Fu4lrYx+s9UJLl707C2XC3Y6KzLgPecB8pQTEdKBabYzfmRmARknomnPoZydvVwC/PWeR+XFFxfStqXR712XtE+UGNPFD4ba5K7iBAeI4ecox+iqXGbpshy1CKIwfGmIMEb7iNabHSp9dawRdJv5RL3kT71D4GuBL69/d3BgDIYmvZzPDfcs98QoYDtgKlj0rNUcYKm3u46bKa1byMWy/R+AzV5V4UFJv/ex0bhX3ksHADXF0QAysgicP7MjPsMkITSiK0YHdYksPW+kS9z4QRKaLaTUNUQhqyW54S2K7GmLRygoIBN4sj1X8d5Xo+mlA96IB+QtZY0CFOUwW1FygQtsq85TXINH4xZFq2MeMYaFILx/5iL/EG7OWK1ybZty0Ns9zsRlOUlnenP6SxKiEN3Mbu/T9ir9P5DksB9V0mJllcKfkEEB+2AkeAwfx/0rThY5oRIOTY5lb1S6UTlv6EnDwDCWwxds6rOrRYhAZIKxFbbPSKZGwlG3eTaIOuM9jg1wvVbritIFZuDEkOpOOdMs+rOQEB10ye4hxmuO+t4C5kbfCPCTIFtbQ/s7iyLLA9+gr17QOJOV8t6e8Ej487KBV8QXsnnqSdpjdLOWqU1WAClW9mS94/yY+GKSnTWWpLu102DivfougUjMArZxSWFCsjCe5XfwkmT8cRCx2yh36u3bPR+mjA6jyYlMjltIc289rOhejxHiDHMtb75ikVnrj+lCrbi/O8XwJJIS1JM1gtSgBIUMz3/k0ekexOAnspfjbsaoqpnF41Xg/Pz4jKL0K9ZLg1mRYxcAWrWCOWhzzPxbagmzVesBKGU/pThtsLDdk792H7nAtD7tNLeiJ28UaqnmT0/ZOQ7LnDjMX31ksT+x58OmpLNwAZ5dpNhBfVGBq6s+oYmPS7rNPoUnZHACFF0X3VTOl6H7rbIseiMosPmfYhUQjZBnjd34HSlR0zO84oGjT30jBuw0N5jexKGOtbGeS2vUjmtY5fUYB3/4wu9SVRnmYACTzvVR4teBdAJRSOC3ae01/6/HQkMUgdspMLrvlxF6G8ejDMpgMB7Vx3HpscioaTwW8cXIU+7wY4TZyTilOGmZQNdLlqrq+A3lGvY8g6/xSzixZ/wB+iRx7PdPOsuJZnT8YG5lgGAXI4zXc9H0Inc/Ke9k5DlkyaTwqtx98Fr661oAmKNjr40SpVmtHVTI9XDvNbrqRrfJ8Y/uFyh5J009jgO1G/3it9f367h6JOxkh4bnJkzfSI4LeuTlLjIg/eVYqvv0vsp7APnf01M0tVG9KGUfFNAtpcWKd6R/apLUEeO/IuhLKhC02k3KnxGi99mswKqm3bg5rYpRxQqAvekVj0qK+3ffEfavrojkfr35epu7ae4pvk3wS5eVLCkVzBPy/l/Rw7eGflso+Wj0OeyJIR8tmigy4DeqwThdG4aIK0vwZCP9sTmNCr1krQzfJ2XGGDm2jDYsoHe7/kNPELyHH/u/7vtqXhxHBfv3wB74WSmWAUB2qUZvUvC3FEx1p0Giztfx49DP3GiRgYTbFCWOWzF2fh3xNcEGYRV0M51aiEmY+6PAeE+RE7UoZv1mbatqxXDxdrp+TEdD5yrygHIjQnGEgbZjyEThifr6CfsJy0fo+NmzvLBeJeHi3zzkCqJDbSosiJ5qEjWXNM2jvx9AOCIwSK4FqApopq0g2dhOiazuiRjaGGB0T6XOBBTsIj9XCBROCp+HkONi+r5FuzBWLhD2XRGbv3uBC6O7oY1yORdwoFIF2rzBSnC+plb5i5cM4312W4RUPQiciOYRG1t6N8LhAai2ntdLb1LsleIjxgwooFbZfJY0TbVgeny6PUg7p3ibYGzYDNNWFm9+XLwkJz07P4LYHNtrZQt/TzKRW6EWpxt/jZim17aefw6o5gB8EOrmVYAP33zwWBd+lqKLj/Kcnb6i4Py87cCM7YJ7oB9s66g2JZGn0ILo+8xrnuVlM3zcvqMclhWh305b9m68aAc9cbrWzOGzglyoifqRqRYCmcch+ddOATH7/sdsB8M3Y5FjKUVb6XhPiOAxzILDsiiPVIrjm2imItIOuzD8lmhCyypuM7iF1VkpCWIhEAoOKwF7lUbsje8tXBgqddKxFKWknuLRE82lwvY6pu/vxSDveFMFFdPVBNYmeEtbXdXVfAXUwwKMXwqzMv+uXOyiioI4R7ZMn9b7fDiJYnt/olhWkDfKCHJ2eeRqE26zfldYYCsbLc3VPXWF7apeolKk3x20GnRJBvrOg58r2ouqBqU8wk/lhxaBk9FxUXe9svbzbWQVwVokyyLcQTTwbNzg8q370yhc4S6kw4kuFw1iEGYiazuWLW40Bwpbfw5km9fJ5n7bppDLgM98Z9NFjrPGvzCKwxondRrfXBha4mn6j4TiCUYpRfZrNMnt096tGWdP8XxnAieVF8eYkY8VsxPXfO/HvKqIz23yl8maAvEqkPr4P4rW2NaGR7li/WjwU+Cvr7NgcAiqyEP+6ViwWejuicIuALlVyQ1heSNa/+hMKdzAPBYupfr8BdrNUU8ahXwLQwgENuug/eRoCLIK7gr+eE89KWtGrCB9/ZLLpzb8YnCwZXo5f27Y9qv59Smlx19fIBhD8gpnzmwxoI38NasWVcTbR4SNRz5eg/Guc8kW/ALPJ7H9qephxAEqtXfB/UnxhJmNX+OsMXbHPddxzC71p+GirRZRDcdfeuuTir9NxSu3NDydR5LJStbd/Bm/E77tpAAuJLvhJ+KbqwvRIDixR/nFv/ddg81cx6soX2o6eWHGu/sregnasT1MJnGMM/K+sKceR4gXNE9AzhUA94m4fTePSbjm91+P3SK0e2uMSEp5vtdia2hgyNg3o0+wu7pydDTCwd7z8VjQNmXrVwKERifSb2oGejRT3/M3w3cGomeoGRkeWFkDeJKyUSCJtOlSujz9EYS2BSFkLgQV3c/grSSb9BC7Eqin20gJdwyrvqlTxO0hphd5K6DNjfPI+trO8nSIzydw9TM+FKPxA9ybeSyqM2wE4y+6aGM9TUU1Gfw+FMjpfpV+NUD468DIlm7SncB9jFSUS4g8Eps60V+LhrLQVRsYe3QOW9nT+b+7YVfqEWJPO9WA52rc8aXrUotcJPCvhXN66mqb4hF3kWbY5HNWjJPLqYnB9XVoLTno2UXwFqRUCCDjnvrYm59x4FIfhBQlbQK6EWBqg0MC2UcnTyxpU7hqvUUmLUDli85uboMnJm4laf+yEzzXr7CI33f2awTA05vWEe4SGcBUr9W5lMQu9Uc1WbQFWAMvJHFEa6KCMOa5KBMr7717Ar3FFMjLr0d1aPIa3qmYxa7Bl1ddyerKG7XfgFS3Cn2xvMvzSfOhbx/kvrK+4eJdZzscPY3xyhc4AjBbM5b92u5BYwEyy1ldhaSNRxPdANNFGYHQlQcePgx3JzcO/t58ANWvabYhd423BY/bAbQr3yzcq5+IEr0T5n2qAA9UysQT4qsgpWApXr2GkmQVluLdZ65p0nUcgRZlG7pX+VGdNmxDdT78wv1y0nAYA4P5rCxIm6lASIKMQzC9q5+qylH79zEG6L4JWUAXC18lH1onMcq8eo+hmpu0LasYzoBcwVJHUpcHAqC5/x6Wujvc+0J7OpaGRq7qa4FYma5Eyz5aAIzQ/SU4XMGeW6Kzyuj570+Hp2GHi+6AnNfVMSeLIW474542mlrCmnrnWVMjNUnt8i2q7L6g+W2K91GIVXgxgW+4y0tGPj/9uFNzlnI0jBo6waMRy2PV7gxBCfX+O6584umOGoeS9ar/J8Le47M5Ihx/UUz5RNXND46h7KEPK3zri4Z0cBRop6r2CtiV+/3bU2k7AszYxWBXxPEK3ImhDYjX94c9bNigwt65GVupbm5GUttLk8wjuWWvJ4s2/QyIwcSwjc4dv75p1IE7kGlOsyHA/jBD74Wvl1PXkhbQNk/uUlVVv1a1xOio+0uDqxnsx9k36crziidnNE0E98Yhm/CY6B/6T5hj02V3rb13OEzdqkzYycGNigpFaPuJUZlz27o+a/NJ33dKB2TgzHxSH0qOaNNbioTT3iHHyZDapxuoAvX2W5CjPxNS/NWOMS2RAX9GgQA0M4X62zbf4020Eo1G1zPFXkhNBMk91pM1pQ6+88/Qmb2RrdskB2zhVO/6nFEXRiFnFBPc9vKEtoKxNaexwC2LospSbNIxJpilc5Qp6m2suWL1d16qJUVWpXG5ZxfVJNoVHIaOwS9Vl3XiR0OHXeH7WbCOvDgZspCy87LBrYQKAjlB1xvjDxOZCnZeFVN46xwfrOTolArLHUGMrfQMV7uxUIUPA30ra9zD1Cg0ibTnrhdVpUZDbYgTTsJPSly9akFJ/lZCHlqSRfbo/BMwJhNw1anfL3xmuVdWfnJvJ1/7yMrpLI4Fjg0ZEoeFAp41PgoMS74t0Hq9nZS+7Y3zRCWxBgoku8AWZUZ3akq/Dkz1Jroc2Y8BbV0wCmmV3I6e2rnFTThQYbXV3z+ja3pjdyqZXB+TOMvgF/u+fnA157Wzd6xouivJmaB4JtrHvgivdJdxxIyBDmGiNO6p7CKwOC2ykg8RV2SQw6f9xaNd5M+PlmP++SDsQnqin/IfmUkqYIdEXSZvQCyEjaol1iipjna7E1DZXwsRS5TF/ezi4bwp2O1jsayY6ztSo0+YrJJ9XFTYLiKSf86kqKGkgryXEI7+j9nzuphKAjMzND/SAjNgPnFR3pJDMXgsrqZvJSEAIUPDrzAuJN6A/pzbhk1Zp/vb4CSwBlVYdmhc+KYuRmRFSOV78iZpdiUbnkvMlyDGu1GBZ5wnQ9QIroTxsazliAGtWZ9G1VwIHtfsIrIZx1EXg3V19G1jxk1Hr1wlw0DHdb2bB57fEu29sVbyxnlAfUIJIVckAvgAmFB1EzwBlamb+Qjo3xkXNj6bJGtWJ5bsrWOS+z/6noZccSUb5lXn0XYeazxqI687QiyX6LzAIHqLH29ZWbGUnithuMD5kHoJvqENrwzL6ZxtubH91SkNu069VLO63wEb1SMw1N3Al7RPh8tZLBpFx7+OaWFquDG2PqS723DrPBKWtSUtEx+4hKNqnAnPnZB6uSmxi6yq2d2XP/xzclWKi8gYZn8gu0pAfNBBQx5/yNecPAU0xvvjjMRGpJ0LVbLvqPeOPK9+jHTwTEcQRkIernsw1CETLEkOuTNq7KTrPD4rtDNsozec1LOrgX495KSyyXEbaTs7uhld9zVySdCoZllc7itvic2vdmf1YxLYgGN9AAoGy2tbD51SPodQaKBtLCz2fR/r0ddNry94+KATMjt0mnz2QZIPg6uX16JwiaJZoh5jOq7asWR1gYCb+YXkfWTNPysz5mvyB+vzK4Rq8QkDePz9gqlE6iKGO1CcMdBSK3I02EjqQ3CJXHHDzSIa/u4fWGRkRjarGVyZdk02+vDgJgaNIpnLQJ4g3Mk9/tNGT7bbT8Oo0feyy7CyWO/wW+k6SauwB6vSQD+Tdz9ApvEINkQoGkNDVue5jWlYonsSSqqpCI91kEE3hiwtlSSD4apz+SdWQWxIe7wOQFxexi9nGjDi2Csc32obYdnCv/fwn7pdXF8ZFZozGa2x/dqKQnrK/fWgHdxEDgmFiC66OSRJzVgrw9z6nmERfMeLYJv0LstTocI3drlkRq/ivJwMygvq5srkFy6E0ekfsT2H3GaGZuCY6cEoJZPEKCp+dZ/sxaM4hNuyAhYM1wAiBvWJO8ch4I/9cE5ml+qF9Ix9tu5KKYnXUp/wI+xJhbfqc6WzJZW6Yni5Lwjx9j17VrCz/Iso64sFr1j7rYAB0Bcyx92Sy+mrPGu10HLOMP8+7GJr4Uc4B3/9OE1/XVjPxDyJ45x3anuBFGFBoQlZcD4HKSqQ8mYxU/mprUTYgRb50RWvFqRpdJfMmLU4/MLdqd+nVwSne38op3v51Cq2SmMJhiDYP5+kCP417OrZvaEE+2loYz0ZrW93LJFtWCjJ9aIxNoJDSkojrLG6eV9xHp8PvflrkkOn5gqqEWZtM6DhZdJ33yOtsuhsmj35pP3JanDcN9t7MZ6LdKcpuiL6m5hh2zLvSo0x8qkkJE3wdjP6Kosa3hAHhZ64lxuY2D71RHGhaY6pANwP4/JOGimlrGJzsmgJe6OaSge6vgRF2RnChY0PRhp7wAc22s768BvFsfrvVfJI6RvfUNQsI2uVQNjEgR81yA/CM+YM98vYSL2lBAefgzi/7aW4/9CXWtrVVBsq3ogftM8DpO3bj33Dftsj7ZNYV9VTRrFzSj+berrObalnj8yxkYpkwoMxWOtDQ43XIDVfaZfyYNuXtg8jhDv6PQrBDEcZy6sC2IxI3lwaqKzUARZpzXGfY7BkclQEdI2QWkKak+ffMwy3gDPg9jYTGm/7jCAYkQm/qNXTzeZvGXkgWB1Vq1XcDS6X1q7Xq1inbOn1AQRSqaUnwxHGsv95sCJFXwfEJp4YEQtsBFerWHhyeuIUj1uTmJf3a0wtAlQi7Cm9DwCi0RUc5c6lADGXxM5DP3DOgjQI2tKp3+epzL25KsBZFsLeXzoTxNvIDx6R2QgNOd66LEFxV4xD7ueCo9NnUXnboFGZRd1yr7NaTeC0agBlu2NyaYkkuxSixXft1GNw9t9boePonp/kQXjgztdt3VFXp6TlxuNjuwI3tIqmh//paBlOFVZhTRGfwPx8OkYN3gV9rwUO5h+D6e8ONhLiqg4x23XQMaIT8M//C37EyAdxxj6PSnbptG3qwy4L6AOCP/indxtxILlXi4Jd998V/w4SytEkSu5w95yaTQ1Js1fV2P2fh3Eqm+RDSike3r/eL92BgqWVn3J5q/NGY7rU2nE9L9iCCcIg9XVHJ7xJL7b1UoXKIgpato9TpMErOkTqUIRBycDtM1Un245iytsMXH5JC3QO7ldUXFQXw33DJ7Sf0+BwyE6BYQpQ0gTZpHgnguUSOSwa94jdoRFUUA+rUoRqY7B9wvkK2dkuNfihGWh6NftFEFHGBid4ZfL4fV9JK+5doEKtVq95fgUm1gecvpyeQ2RqtnwCz8s8UYBI4VlLJgxH5/R2GQ1jGLmgVr1xI7bDnDSBu+hvvJWcnSoSY8lsE/36ErB8A2xRfzHPW7OBSK8AktRLYVccmfSvvDgJg9DehWIs3ca0YbKH3hQeBZEojXGIc7onEKMFliqLZuwd7j/e3fBIHYStMwlhkmGpgJNk7rc0xPb30kIgghRGNPW7HzVj6hqkwmFKQ3dtF7Zn0x7ecC9vr0SDTpC5EJf77Adu+d+iiG/KNl3KA0B1/IcijnF2NTo+gaTI43/Dz7wx8tRlHdXcimXpze9mgkoGmY9/ZHHKYmkkO+cPJO8v0ikS13sBZtv72L6XLiCoWm44ZbqBI0DO0HCJfQFcvOYtPh8PKk8N55s1SUIzTgKx32XJaS3CQbFgK2bE/3JYdVkLDgvuWMakfsRDmyEcDrFW0OQJungP5H5tVutQSbzNJNmUjDIHQO1DCdRaSlSpnQNVCC87WbtguYWQ+MMZs35ZnmkgjrXYbU0KOC0t8UEK5zpvEDMHANrlyd9C0ARz84iQl28H+s0/fKGZ6KQK95Tz0I9x2PG2iDhGlAyA3/PE1pcScT1IRB2jGSDAobFy6w9fmhv4doVDly04o4ZuZLu/+yBde1aF+P45RLbyl1HzKBmXScLyG26clSWdcEaNHK64XuLeg1HcCqeg5cS9NWz4/5HoYSVB2K0wnfxsKWk4FKXpemwiKvjBCKOOcQYys08qiyDtHuMcdOeMPUlkfxPRq0FAs3/SnEzS3u1ctZpQkmO36uHU1Yp+w1rgbM3Zr78wJYkTITEoenkGCj4f56kHSCfA8EMgd7uUg1APasGAkX9Y9eZgaRBNCLTWuzXQjPwHO9j7NUuuiClJbuMxPMhFcfK9FGGsg1dkEte5U20usyjTDhVzcXPO4MKtcDFtWFYgiCiFsMzRC1XQxkAr1GmrQv9tTzvHrRWZChn3RskQ1sVgdm7YCkZ+xcT1GxhlU0uTHiw1yfYt2rCTi0nsnCrwHuykW8QT3HbVEzfx7XnXLc4PBL5SmEeZBfrCPShAFkooWfG2502yT+kXZ1zKNSiW2mr/AiNGOnrKvNAwv+mNxesp+cT2DKsz7s0Eziv089sjRbbuTmM77lx3x5YVI03mFzLA6fEqGV486Lkl2wxIoIlRa20h5ANjTNQiGl8sUqmtUVVT09M+6VpmJcFytHdugNy52V2HwsnF361pYGeMlCzbfWsFVL2UCX6ADxwfKh5kv9mo18oF8er9ZMKuj7/p/vV33pMT9PFI7kLNjnaZ9ZqLYA1ClZY9phB0YkF6YO+5VI5iDeLKkr3Tpz/+bhjWUyukmDjzsn4ciBpIhc7fXnZ/tOSbzBRVQavoNAj9O0D0Yn2kqeC35T0IhpnUCaKwyEgb/OdaY+6L7iI0qyd1Xa8/g6xjxuhF/srT3Ksvtj2jWPM4+qIy2rTKRBW+RwEuwsALUxxLpFRtnDbfCBtcsl/PMXMb1ku5FvEWKSN7ihROAiK0SvuW6WdcdMFWs4kEo1+R7D9UoUE1yqUVwtL1izxIoFwhi0S8LRhNICdXXgZBl8cUbnrAxYVrJFN+J/nYxVn93cumK6+NdN2iz8Q96TzVhZKKoo4BZCy5SX3fHB4TEzqVBFOfIXPA79936QLvU1u4f7XDQvAiUpgUUJvDVRF6m6803VWeDXyp9tLJzlYxu+ldGW79kK9MqZwRs0nx/w9CNrJuLbR/fvG8BMeiLKBECIWdEabRPbV2f4sbBosBM4mW8r4P0uHWXixhDm42ALRxkWE7YLb8DGQuzEiYkH+KN9XnbKy5lrssDrqT2JMXh208Q4YPr2QtDSdrcogRneWpOK9LQ5UxXSZ0fetselGunBWnF+eBmkkcnmesIoHD/0PAnzjoHFfD9vKDzDv/We8tTXdJD5I9XZe7/vjID3Q8uXovkV0KJCuhbfi7Nbb8HHMpaTOldPHuOEpjzFRkGAxtT3KEN7njdqYxTHDrxS/EkxCAruE5vpoGu4L5P3EEMc92Zv0ndIlAEzwdH0+L8EdxIA7QyFdrE67fX63jvaT18r2CEBgsoJnF5KQ7TY/kB6LFU1QlQxmLSiWwyPN2I5voZNBUcZsZxi60U/hedZxHRsDTalXXOLDZEChYKQTMNyu5ZxLhihzyt4f0vN6YNHjtHAP2wvN/PoNtV8SOMGT6om3yBeAHmxLhwnLW/tQG5mHA/wP849Vyt+sh2Q3UZXBrTB9r1goJXz4MBXdPmeOepvX2qSjknZgQQ9fjVn8b2u7ami297jSt2IkxiI9BiujOkpmoTaORPdC3nbV8qUt6m0G8vGicXQ3FzZvn4p+m3a1s+vAUqrqJvflzQeVe03BgKGPkQGvb/CsYb4LxkuNrePNV6F7MoXJGa2prKnnF/gro4jXyScNc0ZFvOcsMYPsCh/J0OoCETrYIDJFRM4Ns4PTknX95GGQZ5BL7b8HlvpRtKGken6b2YAJtEdNNid7qRsMqJFFVjG7QapjHqZcHjdgCUahmJeHP83+InQpeFkJWmoHqzF+hTCkfX3I/hMrBWRYS6bDJF8tH5g/EjTFjLKZPr4hwNlI96RckO7Pla7s9lo5qJGBxPHB/ewPYdGXjvlq68uzpJyARX62yC0+8XIo2HD00cMt6fqUgk69CI9FKmU8F7acwMdzsSTgUHATIPRg5QTC/5+0sBEA92CBBy++JdZYyc13hXbAUwrjJAkzCsWfjADo8TnPfxNS8AU5R6YPyywGbeWK29xcg8iVBVwYJ9TIober+fr5nmyyQNHQS/iKednZGgGgEJ4VebHMm0Hbji3IovzHYTPaz/LBysxoGjWK3vYMO0fvN5H/bU4TMKZSb2jI1iVYfcWWcW0Sw5GUS0Ow6wDqkCJg1G9nbCXESu97KmC9g0S1J+iq3eXvcJMyrNX6/87FEa6O68tD7L/8ugVh4uvXfXKuA202tCkwSW+T57+JTIEvL/1cawtC3M4Nn0KJQRlRnn34lgeSbpzCBUtwcWP4suInl12Qebe9LT8T+OzgjdqSkiyFIRWGn8xC9/t3EmU39oPa5n0VlLW118ePS21NQEpaoCm/T3yWeZTSwXB7gEiGzBe5EjJDd5ziSjznc+ZPsofSD99S2koBZ3SBLW9ygKrp6YXTzJiwmn1vSMLS2Xx4uLpWk2sDBAZcCweqJXEun5bx2o3Anq95F7Fw7+EV/aj3loOrGAsL9MgQxqY5BaEfsDvUKcQI586ryIO1vBapv8X5ko1LUc2AlFBPwEqALPmoiXHY64ZkqTs4kidkPsy7rZv5CpWMErvuaXLdoZaoW4o0Bav4AfB5vsQTk+ZNMPNBnSJNzotQfQoFBAm2APZG8c5I8mnZBYx6iOgqwSnFxAixmQStyYf22cAMurFoOGKW/J0Ekh0yeDG9xdCmSoAkK0KI6X9776NzNUM6RydaUm/v+fzbHtJnQ1b55jbgPU0ykb3lUh+wg831b2gQKy7AINspGEI0NB3elGa8QcO9ScvJGWO6ptUcVlHIU6EABLAag7p8KBr8Gi5s1waNfHZBo8zOU73e9fxpxfm1rXd6jwcifO8iW6NQUhvrQTp1r3rQPXWXhY7aXlGR3jgX7Grifl/C6RVc/gB5BgK2z1+QbEYk0zr7UDECJd57U9CNoKI91dv2OKe4+2Bghcsu18u0kcYU2SgYl92D1jvfwz1IX9dpdAsWU3uRRZC/YazGH4iEqMOkkjpi+SNT1j3kJMC1dARr4C249/vF0UmRmJmu4TtEt79lm6YZqhzm6mBwkZieiWvLpebHe+FJyyrTm0ctIhEJj14R22Dg1bWjv6XcxBnxmpKRGe54Y0OaGUTJw09xBiquqHAeogncZ+M71OPPOgGMT06U+tH1xpqdoQHy5o5+W7rxmgmEh986aMAq5odyKN94HBv9ZW7SP9ISskJJo/zOAyztFN6cg9JA672czKldB647CcPkvKywvKX7p1cDwm+QqcKRhmd3tQs4qjJEgSwPIltMXd2ZgA/tJPnavPzgzGZ+Scewj7fgI+PMrXpYdkkQid/AGkhb0ohUMJKU62A4Y+yCewc/URhCKSKgqbqpDZ9Z/pZ6+CRmxxKYf0tb6J2zGXA+sASlowAaXnrlvh6VzpyXYqbfARkzg+BjOsuOvaqOjYqA2H/X42vuhEQj742ao1imA533tpcv9mNy06KtGBOogq05OO++CLenrJuZbkiVgqRLFsnw8Gb+bikqIz5kvahWv7Dv6cFKQ4JFaE7BTW0f+h855LmioJborkwNZOGcrZoq26QCIVWTsEcMrm0LsyvSVommqY56YdtjuqvYeP6XsCAbK9Eyol/mVyr0VWuEAiXadwVbegeKnuuBVTlAbykv4tBvAhd2rhcDXCCK70JLzCfFE0hqpabYrIGnfHcxXutxabsk7DUDh0tl+i9Jvp6JMq6a8OA3/KIFJyz7UD4SP2hnPD+JlXcUGpmfWs6W1+xajtQedATEch2Oxy4eTpbGDeP0vt7sqTgQ4pBVBgD4vNCVmR3czZqBb4e5rQvIa72zG0eIPXgtoAxnVSIQbXXc+I1wXsWHUFdRPY74ewnzQK2Bd2PT+EtLXqFp3ROiQtolEPn8cg2J4VwfhkAUQ4qw43Cx5rr4DDI9wr4IuuxjYgflKXofYVdKC17RS4POSM45MiZcB9lgv/DK96F5DF/kTcsIlfv1YpEMymv7UoyJ1PesFn6nSjlaQ81BJk1VLga9qi26obouAUrP0txWVnr6R9mYusPy6NUv4OeL9x1nx5crjXKgVk/IyXKsG2FoTM2DQsyAoVxE/Ad49zjQxuUt33zjUJ6jwQaCH1YnATlqp8TgpFaKbxKSehaDG8HcoF4uaJ8zOShYPRBfGdSa8AdaRKyL/ybR1Pk/thpzujboFOUatiiBr9eGipZ+vmGN48FqdP4qR2bUXu4wDasWEmh1qkMS1zW+4n9w7keBSH6ViRFBvMfkBG9PgDifuBEKFIEgC0vtIk7nHO1Wmp1iBMucyQudK8o9jemkOU7/73xRshaVwapg1hnYpoD6zcnQqo6gnYN44E1Sf8rK+uRDnL5ybnMpCK7LAIW/SSO8dx9nxWA/5B1h9/NgllbAxI4aRNlM0c/JB7bu2OFjVMd+DjJNmeGCR7nK7gH8cyW+25nSrky+uPwK3wMsW2Kzb+F5GP2LpwnAl+uzJeixYRzUvJZ7i219PWT5k7L5sgqIddzH8h+N/pqNFoRezI+l4ZlIDqdzrUSS83E+awU1plvg3ySvLg+ZTpsy6RNZ/QOQXsQscAkMSg3Sj7MvGSlR7CzjOKdcy6CWlF3cPEkiGzAspVbVLxeH5s5brfxCqNuTaSsR7LcTPI/SG1t//L5SSX9o18JEw/0eL8FfK5GqejusdUgIa+ujJn8Zx6n0615nfcwq+8/WXkdj5MRiz7Ngqdt7tUvU0mifVnOM3auH5lv80EkUosqairrY4F+zk9Jl15Wvn/0SEK7AqI78s6ZMtzNZyFOUsxVSmEaCTjoOjPE0pa85lCAo4zwNLFGNjWVT9rPLIFzIzKfjJqqBjeicUjxw/6hupZY00HLMOIjnNBn5eFDnO2Y2qa8AjXLY5ivc9yzEcn+B7qZHKeO0IsCkJXtDje8mK8HKYB4EaMFwbBGAz5/s3uKwVlrvMRx2sOE76hSiKD8h+WwEvEbosG5IxGPoHEvrgoK9R6Q9aOjUiyJSy2ZVaNRKMifDmlGDdXaGWZGB3PGW9tIoRGpU6p1BQ/hpg8FOScidc5CUSpzsOfK/016ulue6hzmSVKP8Gm2TU5ieGA14FCA/3gTs3vijzJ5Hd1At3EnwXrcAqi50f2AZSvMfdwZmm+IUG3EB7ALcb60RXGfcLBhbFsE5NlvgJHBccDavZUnHG3D6cWpB/yqS76VTg1b8IYmBdt3SOCqecHbSIXhNgBZqThyBhLMtKnUjeifCYUYuF2RFxgRYKoqLvlHq2yCYnxhkeRw7pGKT2n5nUYPFVT6oLYycMuSoTAAAo7NS5Q08vZqL1wyF+AfuKQydFdq31IoeswK0jG7eutPUQY5A/TxmBpMfkBgyveq92+upBJ2bG9yje9CjJfz+cigeCyPQhcjoCZ59JhrRL6rdXBlYvonUFOs1a/PEkUggxBkTUFsC5Gt8fZL3Zz8JWHVCsIOGbz8CLNSS2vL3y1R/MpE2oB2myFztWHkS1KcV1aWtJgDauQWa8H7ABbqfli7sG/WdxtUiN56aeOsveBneFzfjn/K+2Bix+04wclR8W2KiBIr+SJFlMpdsEiceVtMQu5ZcEdmtkAJfAIYoDQf38HU/fW7FJ73vqdNW1aAkwl2J/lm91ji2kKDyYdcGR2hR6bVkL9vqRZzmUwtgNXQsavg0GebCaSUzC39L63FoEmMhbjWggeh6r05l2oABz5WTIcwrYinFhUAgjqksoSf00d4COsy6wQlVIe7c0GN+sh9FmxNrRW8Yg0vut4w0zeiFdhEe+19o3q9FGbjOxy27gpiF3xWdUG6CnK+AldaWUDhSIFsZhe5ZQqqDniQHls5OJFZgNARI2teztOF2JfDc8ri0XazZ9RyfrK31ITGlg/t3kNi50RLHxF9g814WpywqCGzD6GooHufqQ2CyAjmXmvfdy2hptfgb1NNA/sHEseWLIwL84Aj1UJjPf0zy9dTGc/vGJ5yuI84l0bg+QoT+iraYxHlOO2MhQkLZa2OfMdxJPOYYjoKTRjEazH/oyc7iHRUqDRGmfNTaAz00R+rnQ7TZoCBxPRki05p9MfC/bxKRHzPImGjeKMf7SWjW+k/12I+lPY32yfANyh7Y6LqW7jbeANYvXrxjUxk8zWlhb8xuo1FnEDTzF0HJt9YrKF7yzPNf9T2AXG21y67Klf7y9UgJGTUcoUY9ScWWCe1rWS6T+R262WyHTRAzVBwDdhCdjrAKa1eEiSUg05hXrtXWBoiQPXNv8A2c998Ec/8BkhfWoxn8oMd7OaqvJhKCepHkmHEGNiE0sPxJWcAftUFHRuL+cxdsWhonP0Bk1H1KtsjtsrfZuD1HtAqSjww0NMJhSXmaVV9Ubx9D4BKB7Wz8sA7alhSmYbpfezEDvMCKqqB+3kfENjJzfJgnXE/N/IoOX+h1qmmF55psVBoc7okiuH4Wds6jXi4wWK+7QLc5G6PO57Uw5C6MHbveYvcE0smiDurKap48lhTMPla8TU7Nc6lbFkO1FCuc2NUqPXET0OnjZsSXfcmtpzmei27Omdc3rlq9/jnLYC+mRUwmgiWH8WwBVBsqsjrJMNj6Xx2uHmO40CMVQwis6ISPkJuUvUUGIcH2525ofZZrKb3GhNZPV+cE0t6ufw/laAFSxAZTcYbamd3o7xa5TQXs8Lt8YytExvXuVX4KOswBgdLgPiuAs3AEAOLcD5mQp0bz2YhxL6UhQF8/UrfPITDRge0oqKuy+sYF9WecaTX62etIlm5GNC6VDzPeC/yrqTB2r1JWGNR3kHKxNXmzBdLS6rJ+Q1uBW+67OfD8jQ22Ngar9ZHWnMYud73un+pwfCAZGmsaAWQStnzi0BnHvrOS9aquVcKByHTyxLX/RON7pPFtstcPkFxo+XIriQHMF+TArp/GVgp3AxbRAZzOm8ElSBo//aoUmG/klzjCKP+QrpxbLSDz5+paedsi5cdsAnsHYY6W5OBQU0g6MAgo+psZ82u0oYzGNO4Pddlw0ah7TV30IU6QLmz+uiQGhuUP2LSU70Qcadp0n5lQm/my/qQpQAYpE9CQzyHVQ2dg6KWwrNdWAUfxenPd6lC9JaN4uT/+rJJIyJ9YrmTb7sZgn9V/w279dMmVeWdmBDs20NZtlzvwNB4bZv2YUB3r20sNpD4yhQeHBwfNNOU2Fh8F7iTTOwmnnxdFFvN+UqXjA2OVLrROP2sg53yVIhWFRWqp5dy48zwOUsq9V+1j2XcxaQLVRPzFH9CxpIs7UcckwuEEnkEwIst3kkan+9uGMHtOaH46YdwMgl2A66Zwakb+7S1h1dW+/LE1ZLl+DN6claDMF3CpkbSvvw4h+n41FK+sLzGKdFmRf3lbMqug16pLrhdKYypB4fMlwUrZexmS8lnpKljFSKAZx0rmBrG9ALn8EdDPKWMGdWeSItc476TfVQ6eP1/6csMPqp66gq1X0H2XlLQW9UMHfX5T8tW2VDTe81HtEFaC93Xh64kViueXDG+tx4LS5JpsKIsq7RedYCrXL0pdWA2Rvp8zg8+FajPx3mK4oSlK8j4Aji062mxg+B3UK5PVt+E4b29jFpKXprEaJInwih8DeMOeZUHZ87sPuJKNNXtMO8nJKcUynSrQu2awnzWKAfZ3Z7hp+c7sXBUMBRrcVB0rJM1pczrya7J64RnxpO0H2SS9RGt9an8/XL5TAhPcFBcNbyFTHvt/uc7QXNt/R283EjT3BPXHvGD5bwxgAtJqJ59l4V5QDHASTwZUkxwNlZZ1fNDS6vMmmmNs/bNOjmKvT3PEmXwG5kEAzk0rbcKBRqUxPqk5DahpWGs1MyyEdhpVMQRYN4oaXq47VWbiH0haMSewtpi5Xd5pXcTD7Nags9GSJKFfHvtWisDwX4c3D1tu/duypxRw5W2gv86sliex2PmJB5InZGINvvgiq2i/dKJislnJyLTbOUbxQT8Vr30qPMI/8w08+NDQirBluaKU3VXuB7j4K9PnmV5yu6bo1rSgVLCLlKaG0rE5TEArQKSDPYbIMOoxv0dcW96PLM90KoarC7G3HSBQTxkJJpi/dqbwToaaqox3QlfU2fyCQog8dd79V/tVl+9tbCcNG9oVRE3IxMk2xy0ISdaXBdSCnd586U6w/WERmnYpnSIFxoDSOXiEAWe2ODZ9+whiDizK4VkjsQ5MDZuiw0/pTxfP0p/lO7whWkU8wZ8Fc/OamCbg6IWjW39MelamCmEiMfRHTbIMLBA7F+wMRhUWjpSo1m3aBrLagwJZ5pL74tLqYOtKlVxSV1S78MXCJj1PlC9O2gut0o+CcGg7f4MPH5RB8s6dOJLrmPZRerNmMYWVM1NUYPCYfyFZ6GFrfCU+7mYFNGe+eU/9Qv04rOqpsyj+bgruz6rnrR2T3HEiA5wJyl2EaVnifMVmQnN2mWE1NexpSw2btQMHG7kxXD1pyseD5Afriv7AI5aqD1zwPlfzHhU4uj/dnbuTiIwTaJv6M7CNwC6tTolSCYFGYOd8wTozzVwSm5CePensLXyzMqXxm0jVlOF0/0+hqVXCvt/f/9IwEuHNF3eK7SHjY+FLdC6NpV1SGJBsErooqcuQxw6/bYLFK+6vQtxohFgm6Ta7IaPuM/FOJNSA6+a4llt/J/d/h9I4S7pghY88MhgWcXPprlT2X5S8ZFLCmi7D2bU6gEX8UpIUXLTQb6mXj54dyBMGkNtoAcDxBLtahvauVIsKqdR7YYXI+Mw5A63QVhus41xL6DFugO2hJKFLbh3db7KQoUaXea0oSkPVeMY1OD3xc1C6yricHkXao0jwyW6Zd2zFMNyzVDHusH9uOH0A/ZCy4ZYy1LGSgDgVi2B3D5s48tNfz0TNYcqkjIXRhFDGQZvbngZnAluwF0akbjjGvE068Iv2qPnC1VeMOttch5mm0rHi7t/9YrRBXsdLuRjFnjpU0MdfCsVlDkt426ms+idetMlC+Nq51RUvanrkPeSKHKIDi8Q5PjkNC8kwgKX04tSGsMQkccsBPZcKH41r65+AfAeYUZHq0YYehjVxQxxckgLD+x5rHMXOREW60x8eeWqDdgtGOCoAN/kGQaQEJSImhFpdu3MHlU2HEPR+aBD/pyGr6YHweNqcpk1NFNrT/Vi4V4WkhPaz2Q5WYAtjMvXUopWgipdAKgQYX+u+dTFPhmSbvXEG4Mk6eLxWHDiX4T248ZQfs7SIbH8ekjv72Na77Q9VV8rA7OcFfNDtVGegSZsKJxs7PPM0bO8CLz8cYSzNaPSU4PzZoeZLlksvCAtjXqHzQOdUMo0D2YIC5EYB2O9FhzqyVGZOkB0n9bDHmehlnfoYIOBCp1OyBq5Z5Y1dWDEaoiWqaJNPdQJuEYh7DJFB+x/6uVrS/P7TrniDXDmbuaJF2o1ZYcDC2h1IADDDuo5tLiScHqt/cnmp61grX8Z+m7jrajaQbs49J74M9OlsUUcBAY4sQNfcw6nyMlTj9mRX2TnITo8ZjUSi1anqlV/+dMY3qf7AumTnyY4CEMyQMH2yr26JjTUCIuecESLFzHQU/IgVedQ2FFAXYydHhMeRQWbV7nWXIxPTPUGMtR4omYEfn/Znuhzqk1k63wEhJXKWuFFk16LKgeFc0xT2STsHeJ1lHAIlSNPSqaipYIukgH7IJotCIEB1WeqKUEkSLR85Cwqz9QVtQJ3GukNp9tBwOd3ZQC3wofkUCvWRn632s00VMLXoT2wvTkoFPAacM43rTeLUy74ET7brhM8juP2X5gkXsqqJq0EiVYelqe86pNXRttoFo0cK7d3AzXQEkD1y47pWveLAok5AHNuuPX6HnYJC1Xij2Uwklv187hP9oJXhmdrKqUOApitq5ctupxBojMveQMVONyFEBCJ8FLNxG/I2LFGRnIWbybV8e+bgkm59X+rs6SoJOnLaIzsiIugE3GvUrMDQCAA7WXghI871eJUWElSJw1dewPutQP/iTeLpS7mQEW2FRthIjNdXp275GeB3h9wnep66FS+Jy73q3Le6eqJegxkK7PfgFKRmEwMHBUTLj2gODDl6wBHTjVT9GKrsoQBySmZxg0T9Pq65RNAnOrXLvF9EytsnhwdxfOYL+XYjH+sK2z6cPgP4oy8NyD4vUoyLQ2i2W+dfjV/1sWYCvZnQBS5KKMdvZH75Nqzahd6apHgw1xYHopbIMDp9XHBrHqUQfRhcgPoOPukDzrI6qPlrnXkT+e7UTtgO9l1Th2uud+DGtyF/4+vAZ73S0CLeO5vcybZj00UIsU5T240fWuNpC3cGkmhuZrYKR1Fmfm+FRKPkjOpPrGGYBfyaZoSUFiTI0KB3aHgWijRBxHXhLj8qohnxWyECouXh620Gflv7Q7UlyJv+zp7V+8b6+YTEfwiUuTL9Li/Cjr2Sqz1MxqHybY6La19byy7IpkibV9rGeAh/tza4Z5fesqm+JNsKJ3IghdZ3FKUkbA3daii6v/VdilSMGiJKIBg6+UeoVn+6moxlknO5niM5j/jpmvYm8m4HHhcUc+SCKNd6Mch5ROzaWIstAxrQst9ZKWSPDs8HYR4UGz17+h9sb0UyR7XjvlspIGRvSaYof7JlXOOKXqW9BDCIhpKvhAFM/BsJ2t+NTXkCMl9se/LsYO5oNQu8EEQRVHEWcK8QpHCTyX58NnqWk5AhlfAFh0LtiSqOs89y64gj0Le+DZNtSfupUfkM5M0z31hkVmgCYYLy6v4TleaMXp+j9+mCrn4Q+X+h+XDsPwnyHfbSLrTmseE8R17acVWXsiL5TimVJ/NwZ4nSeMoMWMRjkz3VolxaZuSe5hC9vnIlVnNlBvGgKOs45YflHrZAW0xYRDUmqH98ggFjws6D18uYdZ3c9CFs/VsWjzfgCoO15GY1xMjiKksHQsq302N/yqSXHT5+nQKF+HKwUjoBeCOKf5mXhejI/baWNhmp8rd+N2gOOAJmm+obDzD6sEW5u69f3EyYW5O8Ffykuqz4Gf+iUeK4PmW803u8vJrhEnpNtAxQex6CfKMKcL6NTXuOjC5PepNHYBcW1XSUi3EyIyClNK/m4ZYI6hkOlpIUYHLvvpHPk66Tu5XnLcft4eNdC+GgvWH9uaIk/pLtSBW1PNlOgGGIynILocXjV1c8J+6qs2Fr17zKCw5di/f56muLvENC9aleRFPMgDklUVm/7PrJoptDg1gJc9Sf8Xa2qGJVSugLrGCyIbcys8IZpbIL6eF2GujnQ6QtVzaIJV38AdBBLm3A79zhOwxvxxr/fU1T0FwnFO6U/JQQ8D41orcZrE4YAmi7cbaLILJkJlxTM5SMGHLdsBvxyPeTdEHqcqtnwsZi2IMB3Nppw4EhqzKEyho4CnSiLXpPUelt9bl90IeOSimReRKemWFO0He1kiD19j4s9aD08BcjzMOtc370STuJewsnY7XEuGBtCMeqsTtif55Zrssv5qHt2/laO987TzRhi8FNyJUpj4dtvNeOrWaTf5wLsygRBz4mGSGgSqHfRSxiwt5NV7HAaNJAhRbENFEc4r3j2r33vThq75clTe6FGLGIe36JdUj8lsQU87pTf35JjjJ3im24HH5td+13wYgd62x8IswFUTDuUZvNc7pz0xBA+pNwI5yOkQCnoGtOPottvw+WBrneuwWPOTGnUqGZ+E+tGR2cVoctRT++1qfH0VhGMqCREmajB1KGvJwc1trY5sbQx88uzuePhch+QQsdtHwVdect307dpDCCkAqhvJJSCTgOzFCMxLrNIpGCLjP2/yDIS50wM3yGwd0YOcQw7elnPLQursN3OYkIVfOCNE3MNcrglj3yftrQqAd/U8kyKS3RWOB9boFU6YEGKH+OQq2YAzJ9rOvAvqtR7SKQWZcGIFTQuvu/CS2+HRngOn1CqXdola26Y2mpdzwhpPAd9UBM7quyoKdLD2BsrbTqM1SJ4F4uOa5l8k8WfPGIXnjSbew+LiyxcPvxhjGXpR0711J+SGJkTk5jKZiBmUYWLPH7hk+5TaDCgcyyrrEEWs6HPLJtpCR4z59aZc4nMBdx+hzXMSL5/jDjnPUIdRry++lo/AW/jmn0whTeFpmLxJqtAnzSXZq+vT1zCUW3dOZqmVp1Y8Kx3aDdG28Qcxpe1YIO6+/nOMZW2iRqDYGUxMo6sisMKu2s75i728ydd53NtGCuwDiPBcWqNgrPItxln2EH3ybkofYET98OOj356zNY8SitVcyjFIbhVD6xeFE6TBNlkhjGKrSI5Zuxm6+qrX/Fo2pPKCBoGSI+/Tzq7ofCiaaN0wG3X0NzMuN8Kqi+G/mf5zpgd/GuykGXuIdCrG5JsB6faY8c9QaSUVqmC7nHRPDn25cKlWo8rrw3ExWd2zz+2SnB9rmOxX18aEEbGCksFiQNnpcXJwU2rgY/cBtzWjVfvs87rxva0MDM7dtcKJ2fEg+BVTERJdJqzAS0UU27YomKPTTh68SiWcCZ/rQ19kpqhUg8DObRjhkJg2jYChtCw5oWGjY9pU9WkebMYs77X+rf83q8dfNoWv0SOoquvh5H5pLFPzkwn1myKI8zKHHVXyHbLjnXiwnhkOXwlyzmHKT0ExmFexSaE4tchoUMxFDjoRZKScN9VZK3VuNq/TVWhgNwbN8kDxqFx+rfypt5x665gI2Q5Vd3+A8MJF4ZlMPKsnjyk87Dip9okDNc6S1CDctt2EwXwIgmuGfC/2X8I/wWeyu+ErKrJl5Yy2iuepFooSCog++SNgsxm5IYEYPLraxrP56P8mDiVqtBaBFwD8jEXJdAEEqbAJgzTTnncD2pSRi19vQSL1Wmy+hzv6lNwjyPjBz2X2i0JnlUHg4LLeyC6TunSHvppLGQSxNGFwLf/4hbtzOMMaqhi2omMCMXOxFGoqp6Kb8Q6NSwJ2PfEaaUHjN/LZ6kUW4ysGgTccuzIhcj8BtODPsh6AouIww9q7hY8VhpTUVrYGIW9rv10r84eoRJnXzFi1uFCJAPQPh3iWUwsct9gI3NqAV+bSANZndJnCDHBC5enTDmT3/KMLbGhfBZv9RTUcVDlFBRxzEN8AmIBM1BaElZ1Ax1twfGTBlnHPPJohVTEFtvflwf5N//5M+mmGSyNLqweoWlJckhIzWS4q9p0h0h4kcrUAzeJnaWi5ltR3Nj+82P563fa9PU2jBf7N/Q01chTZeHh/lAYD6Y9QVGHwvhcc+j3YBLPVqHRnyyoP+Vbyale/aj18AFsKp7amKblWpNLOSQc99WuPbpSti4n3yqzr4G3ZAbxDh0k7zljry3FGXVCZ4mpjnEdmE/dfm5DRyu+oHxGnjO5qmNX44hcd7NDlDuxB83ebyGGpLx7qnopTIEHz6IywZSEDUPvn1FTAdbKiVXtG16/VgbEp4Wa1bttzmvojVZC4js45KAfm58LR6mbGGSmhxSL2aeQC16ez/+khwZLAq6kTzW3RbCes6L43R/DYpyw2B5D4NU6mkF3LoB2U2z2g9b9q2N+qmWFA7RT6HYwhcl2AAIjPE/yQJKnRcfN0RdWzaF1qU+0uKmWIDiSqoE7hJCkYXklBAAc7ajaPWsbjRApPpDrD/m1zdmxJUVS82CNFmshZPKji/gnR1f+5hBUqXvYN0nlSB6XVeS2aTwxu1qP/EsX7x4oRZWOBU1gMi94DFcfdMWaPFgEQ+Xk8X3aeC0LrRnLNFCXoFlK1B5wTpLrQdMrzW/wH3bfG/TNW9DkjOAVCvqJb7aEEjjAfhKDg0q27TbacHTVXKFoyddZLNXaZJGrqu/a8J4jId0ucDLyv/iDte5E7Nyx6eFpypv/5q5ybVZMTR+c7gY5t1sNDNyvfwaWkJfqwIHGIQMX+TjDpz8URZGJ9lGZRfMIK6KXpIPJPIb9+RlH+KqeKPmxEg2Lm1TF0UAqd4AOVL7Qm9OPQwzz/rSQ1SsTOFcyndN72SEVscHwNHfB6HD8TSqAyG5me1W/iqyuwAhQNuOB0QACbjX/aOGBnKY1ZY3J4PooVwz0IPdOBrvoSNK9Ktgq83JJ/811TpuFjrEuk71RTI1yQ5cYa7FdcZGQUJDZ7PxjMuGMez20ttCrDyFftPUkJ6bHZBJOaPx7F7mgHxxJdSUIM5PbMs80MuX56aim3JKOw8NCkXbr6mod1QF1Ih2RIPvdUPBxK3gRxjIH96Y3U0nABZcpCEdfYp12CEaASJ1SCGHVRMigwsz7ds9V7qAWC+U8ubfh+BcPIaiuo+YGeGbgUjFMDwZeYh6WBxiENG1KnpL6Kob06H+McYGsJ+TyisfXZq/nb88IXEqt8bWNW77DxGdXpxiBZni2OaYOQqcvQCvNuYUBy3WW5vN0PpDTmB/knXwkqHPrMorCIE8Im4F1dWvNLxNk8WS1g0nrC9b1+Q0RIhEppqSGFE4Vettplqhn/fnAlnvfdZweccLTVR+oAyakqEnQJFsa74yfDiKgKKjBkMzkTFB4up3+X0lNWmO0kDLZphuUaVVhWAD/Pd9ux4yoZ+t78+GJTgXjmQBv2FQ7S2hhF7WiLQyDiYzNQ31ssTArp63CyTMfMIJukN9DZsejH4TfAaPHYLjL2xs+amNdH1E5B5HaU7hzB9TJM9sNH9/MPAKCnQYRedbXQV2kdR176dFcCS6OVJRObPiBNlGNN0MESSrZ1GhubBzBv2p1DaqUhJPr+qtgfgA0003+ynbMQ/rlhRRAze6nZRQVXMZpjjrRhqrHbd63k8Tngh5iSxI2N0roAxWucqOQuCkq/1J9GhaszrwhX4H/fpZQJjdPAzEo5UaGOLbhbyn6sgLZS4BbxDcsByNo/AFWcOYZCrZDKFfvTP5ASJMigdqit0UuNAx3QwciNaEpBMbpt0Ff0BCOzJgKS9LE8gSRYYwg1VIbaeTMeKYn1VxD6fWgnTPPiYXQ2Ss3Lhbkzq7qw/5msxxOMPHnZBqDoYKEAKnPB6WYWv5GhUUWx22YyQTk1xqtqRrx7E3AfijZ8UCHJuKsFQIUH6oZY5I/UCbM5dHVwaMda/VEcYxeAYU//TJiuO+wqeYsmqMcilb9sU7Y/2CXjGEXinBeFHa0VY6X6ajCsNMkE/kDoOTi/Lgx03xogFADaNq4KsssT7fjclEQZYhFsmjBGugak+bJvqz/JesgWbSPROpS9Kcj5fyKGOEucxXpoidLwQSJA5WLlhS1MnEdGw6ssDZQNbGlDl8VwckLb/GFRFFVzjms3QpWIZZrS9cZC/EqWlxdGdXSk+SPnOZRjJByjRJSMKxHk//SrTPaIOsE6O14Jo59dB9q2T2WHy44cPSuButs3XHmdAsDzr4qADAAOZGtp2jXZiP8GVT8pSpeHTv36b8xirGKl3zz8o7A32mljgQZiZ6kICE+iQYUq67czraaOZv5QawJD32gfgQKR3U+COZFXBEBc5kH29ve4BaYQUVYKtiEsLln4SKZAYMTCZlLd0FrFgG/86oiqfw9NKpnIXKuMySrqF0iOYzZLdkOGDVoT1RPYpPK9IE1/uD3p4WBQkgn+DuoPz8gzKSyTVj4zxQp+BYdBNdgZFpA1Y16ZgcZKqpdv4c4bIYrLtOAURpEFLwUc7oYHTyqlLt98jcNM7ma6zb1+h7O06W8FJYOyHsb6nwrxIPK55KZQ3o1mQ1vYKwxEwiSdfvE5N75xGRPFAOrb5hhOlS9EMapvMJy3ZJGJ4mbRTEmrFnT3rckcseT4Pd2NHjmL/+YoW6QBfWTZPl1oaKynSWGz+uWTj7yMVVVnISNoiBBT0FCu98Wq3iLEwZJEvCQMxOWgAAExkhMeB8eH3eDIzfWeL67OexgIudYoYM3xU9eYLUnSzz4PVqpXJlnsbMJtkq0pIONFiu7xX3kazIgRMmOFUaxJF0+VuA8QMhuVLaBN6RxPEpRmoV9sFSzhORSS+pnh8CXQ82XbyISpUserJRioQsMYyjaZj48r02xZQuRhdbnq7krB76OIJIxcaONbMf1wdVTMEeSzkWI1luS+hcROzdS9T58iQJLwR8WyTxND9/3OwAl5uxrFDZkcYbhFSYX+tew/4jYjzuRuBb+QMB02b14ZDo8zuRAndY4msks7XQXvBL/gzv32wOPD1My60FGuYkTsmeY25jMU2VFMOwZoN+NopNht+ak5SknDswwprcHNBLYpn1o1KkTvj82aajd8Y5tLZzQk3tCP9dUJ+31LEaLALUt9Dzt+fRD8lEGqxVHD8lScq6Mm4sNWV92E6YxOVI2DM6AmZLsSDgw36RDZjlwNOAA8/zYBgB/doexqP1gcCmdQOPy4d8ocGiS1BpN0afZ/TIcGZWwk5xnoWqhFFPP1zqwl2l23K5I/SCQzoR7YvbwyPD4ZPN7OsWyu208MxlTMzQZ2uiKVRtbuNA0dzJ3LOil6Ytd1SqiJVMtAm5nR1lPWEJTgesv8g/m0yyWxJ10mAzbgK4kaX6mBETRYvRICU1QAnUA1j5zKB3u5jCNI4wHkWveeMya4NMQmyn920Do/DyGtpr38LfCKLV9PvcdjHpe6Au3m/ac4aBRWFVEPCSdLBO+zTU2nSuVBJdCOcccb5Bly/CmdwxnpSm/uGN738QC6hoaDcX3ctySL9d5HOruVt/4hdsfq48i47jQOtIYnmdZQ9WiRUeJzoMT6IdoIDWQL3PGHngSml+sR0s/TmUgQ0HBls5olP1Zv0Vdb2jHdUURzsO5xDWr0gL3/9KtjpfBrU/jvtZcpCPh9PT1fXgfLXWMGefeYQ8VYpUEXaAN87EagMqaLwqGmApt48VVk4rRsXVfJsz1XwVrC+8I3rPKl8vTnSbiV5j3nq/uZldiOJiSZdIFMEKR1dZaHuMZr/I2O4VaTOiwnEFZDQ5wdtt8Xgn2mJwqHH0CbtPg5MDHUnuW1P8eJeiJ1yRoDzwKwz0mdQpYLKE4V934YQqwkqHAsOQ4B1AzShZ0X7+is+HlPto/DgAAfqey1uCi1QScuLz5GjQHzGz74RfIkmOTX3fqniLXyncWxZ59Yye0Z44I9V+b9hF+wtL2fJdagE5fiRV9i5OapKHdZLH9+2mX/Zoe4oLgt9JcJP6lM5nj2C1wGAJwthiPnFPGFgig+CBITBcXIYv/rrn/pEpVVuH2nN7/eLW5eHC8xYJGA94frh531f0AI0QgRkjMEWgSq5zx52rW3hbmPrUed8oQSQM7jPkwQTCEXaVpAYbye50pOOIP8o0xqjJ6Ax6PX7sC9MpQfQwql/FiTEAXDsHevu1fVVYhtcetOhjGjDsfhCBqdPxX4hMBgk1m1Zk/mIIjQF0WAv8ZhaqXTtFY5gRYW9xj6V1PncbY0afIONYXJX7A2TLAO4lV4bnJglf0kUxd7FevgFqI8+scLmq8s8QiAyDJnX8roaXFkBT73Rx39PAYhvzjcZQBsoOEnwwplSvceAPDIaLmqkB8JjGFqKf0m/K0bUnGuB3myk/aw5SFHBdEazSOFQJ0sl/FxOi7Es3esxjQ3rax4OaaO+JscT1/1/+V4kQhle0AiO6rCibcbOhqGB8Gy8XeOrDwHRywmOKY37gOgfss9Wgvd52kRwJU6Z4Zwz9dTy16Gwa8GVSuNvjDAG8Mno/5dOP0RQpWyxPjcaBpNsqI5AM6mciShnNR9KDX3eVBq41H4IaCiCU3/4LBEfmdR3TCwtcgpDpFsYuxcsTVEczhkUIQ8qsCEuXLdpkWeelFAgVLC9zlg6NiE+cMoiHlsSXPnGvn1/s6wYQKbUUrMIB1x9EPbAlXcraJYhzfktsMAkLIDVJNr0MLzJm4jp/S2KAuAgTjZwcoVZ3A6eRqno/M2ZvQBYCUs9vGr3o0zJtTQkEKKTCwu+gPaiOCYfooa38aS4kbzHGXW7DEtFtaW3Naw6zZabUtetm27j15vDl6FZhdXNVMhtnit92mK7D65LN9GBD5PRSaOd8N48REccdO8/3jni4M2JuBGPlMIwjxtxN5ETAcFZXwcEipxN2/EWEa/PnRD6PABANuAjjzRg0a4dMllmMtUgYxfPiyRfkjLviR+MPLgI1TpiBJLXBxB8hVycP8XgGzlqqVwyRj7FWwCNkXHKk0Y2/nAEn7B78Jm7pzx6miYCfsWda3meKx6k9/E1Ym2flnQ1JNd5SSuQGhJ+r1OfzDAmgHuyTlPniSBNThFGyoasYeY2ojuuFma++dSwM5y+jmnfjYEY+IU0OotmoNsNjDRs6MeFOfpNPOj20TVyGAcTBf4O6Ui9YIo9PIPkOKP9QncV3yUq/xlKSJdAN1649Geq4KnFgSWMqNco+16t1jwrDIDq11SrbB6zRB+0wT9RUfPF/ImkMxCnXc+Bk3aMOt5MPi1/j1S16SyWLqFRISFtzN7l1g8qQrWA2FqzfxWEUfKzY/BPz+6tQ+Lqr8PNhXAxQ5Kznfxe5/NLxuN+SD36DK5spBM9A3x82Sw9hXbIziMuleoCi/epvJFciBgh6RkpzYxTg0kZ/Lcda52tMPLW+gwtoGJObHICg97TeDq32T1IwUZftPwv62NJxBGg4AbO7xAMqkiZT6PimC4Evod0rKEd6TNGKe0Smh80madB/WvjT/ixGyqr/6n4+F5CU56rInKDRbwxKf1GWmU0UsOKefYF5VLOUIbvxacbRJim7tnYRCN4d75ECq90xTi4UdvyPcNki/temy5o++wRI4I30gdTcwUiEeiUa/4d4iUdjQid3eXMqL6DqmJnZoX+MSFJ3WZ//V4fxQxbeFADvbaUsejg0F/F+NZ0zmrkbriVfpGbioBnu0nFsJ0rlBUInNKdTQ/RUNZtKmXyWHOEB6VbN6UbruywZcUEpcJBlTIjszicswUBO+1AL0ChxcH6BEodKrCsi9goYg1YbUchXsfD/gzKT9Q+qB4K6MxVfrKuT4sffSiQdylgRP4uiWpGCIdu8Gdg+DFaIPBWkRgAOhe2JIJyMwqIXknk4LjEn8bHdWPbYzR1UaZWQCQodpAU0R6lDBU29sStvByOBAPpETd97+Q72eR/Q46nnhI9MjT4EK0fV8zJiO2Hb+HiWJJMvLkk9ToOzJxdkZeP5R2m4I4sTYYZzXboa9MDatKBF7q7OSL19MOWUZrJ2mQpOaKfliDQNsUd9nQQmqRVOABeXCX9bRD1l4YApJKOlZQ8lBZ9vEieN20MAnxvSi65A8aGMt3kr2BpMW/Qew2n+gOfezg9ieReol/0s2JnpX86GEROukIqYF9aytQjkhdwQdUE3ansrBZYJNB3vdk/IiDF04NnVyQDO9+qAyTmhhy22UvC4EWpt9pDAG7rN59uuyXeIyQ86s1i9ZBZvMDo9bA1VXJJ7v3s0g2AchtdtNXXjrGB9KWcUV5D2Xgel68XQe0bPCARpT5NLJR/IIoDAzKUGQgeFQ8FiAUuuyu58FmnahjSzL+2OA4yFBv0S3HxfkHMGNO1zl+kQyg64qqFhea4lCAG8LtlIDSNyajuMa4yxNyHGam6DA9Wbk9ecNWUV8EVdy1Z62ntS6ixcAztdx6A1dxODBGWc39jxqJ5y289/MFmWcf++lZ4nqYwC4FdDRXp04zAFh9eLza7610tZ52VilD6Rl82TYatlNQQnKpHwuldy1YI6Ox6ybcmADlQgYUSvkWlClv+zSxJkcXfBaQiuWqXm2PMPCl1dUEQ/4m6nrB0oiR5OXJXtJIWQt32MMIFm+k5ycfDlUCqAfZRutYAeEVXkf8/Jc/hZ/Fc3jglMabt1BPYcxojtFmJmyGKBXJYGl//ryGZqhaNkx7mF1xa2+nvJhdMXa8QlkFch8OGUC7cbSwQWV3K8hGWrkclkCxi9brNy8BjJWnxWjRGG7ns8ABsySgVYXjD5Tu1Bi/FcJv1d2kp990/a60Snljc/MqgiugNLq8VY8/POBhnOHYda22qJ/yzq3W8HD8+rawpyLjWAFWKAZm5w3tDo066LXid/shRs9FgDZ8AYhRM1eF7eCUKGw0hw/6vFSCmi6ts/0I/bn9y8PLmwBO1KM23760JK02PwNQQN303cTy/I29GBAidwL5lqmw8Zacx2X9w2xorSORbXXQHPF2dfCvhCtVj75Ra3OZ+Y0FVZfTwyH/GIT9H1O+64/44OKKYNRAKg80y6/CO29QaGDNbQnfyIIc4G6HJoiq01BtdYaONpQ2haUZetWhq6A9XnXfI1n6fL25YYYbWhmXly+KRoM8GWDzWxz/SW5mTMC9F5BwFxDqqxMqucLOsvELe1LSbmwdVMIFlXCW9mHJv9ECHYRhX+8mCNGUAjjMuwItXfh+c3r05qdbC6HffLKf/4rK/RJdYJkSX5l978QOSLHeqF4rfbEg+wvyLGmCykJ15egpIh1qR/vL0dVbDyq8edOVjCDgej1KNa0wLzRbnO9pHjATLLf92P8/WVF1YDXsDJhWr6gQ4U7aAx/EQylW2lbhYbc36vneayqLkHKVRvIWcrpPP/zfM8VxCGz2x+19+dhQ9E2f4JsOL4ztvxJMLEWGc6GI6WvVK+HnKVcRsV3Tbb1M3HQOMKmWEpNOPLTPrJYwnMQZnlRN94TFcTBWQHTg9rNqJMTya8ZoCLjF2VjJdITAc6WnZq4Qss18BpUq4FbaOcQzB4OnfplZpUotWcAgRp7GQ8fMFRGlWj0FP0rQgcVDOdn5+vu+aOmOKrWpmifnpFefYt7SmhHGUIHe5kfmYJQ6HNBZ2KKdfV0s9Z3E/jWzWMqMu4d45X0cQ7GM6DhcrzWvw+/4vxjELPYadp77vsYTqdLPxZo7KD+9RMUFZnCxzUdIMfd1ZiOKy1fCmQlehNv6z908RczdcuS7l0S3azEjLskgbdgNy3/Z3V0yG7wjYHDE0dZvcBtJeQhRTJS8eHIePoRQn44d5Cowd8PP3pfqaMzObNbRyVAj2pPRn8BtYEdMjlEfPOqmRTYyAzXfF8x+w1Xbj9M+cKbC2gCbMDylVgdg1nl3o/ip8ZP7QXdJMPH0uFJQu5iIKD00Ohmhh+IIeWwHi9p7Vevlfu+ifcbzCnIhf2f8JULgcse4hnTkjDWBihEZJ+H7QRWGLf/6w2iKdz+OLql8/7lwprnZ2H5yBRNDrKxERrcLHWtVsaT/kfwYOgkGnAvlSe6XdhPvoCAQcDQNvF0kymSy1TIlnO55ZnZ1+9OTKz4kDRESow6pJgwrdSyh5FUPBCBwcI4mZK74I7oLXrPhfbVaS+GAYhuxxktx+je5qTGv8y1heCgw+mJWT7FIUmAdVGETMr64ZD+3HElpGSGTeXoJ8436dUEaIj2xrLZpDKzR0LV3haBZjIVj2sAyKyqDrFOrGsTmdp+NoDRz1a2G0YeLNbPfzjVAfhI/5yemjKwFxB8ED5WL0MMjnlOc5SmBxhNX8ne7yzF6jlCVYMokM+l/4idSY5miGIqwdqJcZu7GcRxXZA4Jt6JQSwZAvhsaKwXS1oYtRBDWIjalyrWbez5+wpzhyq4cXqbokd16WPgf/fMeBr8LCkqasYns0ftZvV7VvJPb74DCzjwY43wAb3I8HrABXLjtxAbEIsrJUYxJODkTJ0s8tpkv51T9dMqr1AUUdFQku87yVqF4M1mkhpem6u5O1RFf4vC5pbyStboaWq/J462rOWxXSuMLZoAlw8DcLMNhQ4F4XIzmjcOYtO70FCy6VIodsIP1mRJ/W2tT1gOh2a62cTfaNSKpkZOlLm8vyFRfCLJUr4aYyW5yhvSO3CNhDqU+6HpGdAVt/4XHi6AKVG2raYgL/RPfZwUC6xpxYB8sP9Eq1aQk75OYuuLA2ha01Mr0L9ILOYfZkOucBHpnEwFu9OcaIzFUGmCkhv8XaX8AKUS5TxBuVHOCELfZbzf4AGQqISvzBZt943P3S+lcsOciHPLV3LNXQqGrMVAc4rmtPHTTBqGCvbuHZwzuatMiyiF7NQFUPdSYA7XQFRmc5g9IOrjROCryK0AlfxRdqM0FrlM/F4WnjpIZgL0lJNR+Xd/egulYpGu6NUjFW4at71y1kJgy75dn01OtTUQCvmEQLUqp30Ab0V6tw48nW3EVkAJXs0CO0AHvQmpjAQ3Wv1T8GyU67eBMdIzr1motM3XfY+XhzZNl7YfuCEdfxk0JmwHSw6r+Pnn2wgZfoJHgCMgteCFodVOTm2dwWdhKPvq9zi2NEsoS1euRhoPQ34gOxcUhBdGjMItJFnnL1cQJVxTK0rwxpJPTlHw/Mr9USFnQou8eu3YCDDrWkvzTf1qJUxHcHf2J7bheso16jgenUvQqymQWNPws+u4U3Gp1TsPabTKGDBDjkgqqdIBt6cP7FjsDi0g9ZvMAObG0foc9DQFA6jCeVOCGTyCo6F8zb7ikf2/ssI6pCdLZU2fZu22BTYF7LvFVt4ullHOQBDjn+Oim65TUKiCNFoqwtsW4Lsg1+z9uMttGCMbtXAY0R1YI/o1FvljfetvkcrrpAnat3IhrWSYNJGRt6LLn7KaZPH1NDAqUlPfBhEdP1QITcdZ7XM+sX4YQInmJq6CEb41Wc+XbxTLiM+kAo+3JALpNuy276KKQWKfucN4J/mHssFUSJ6jd1lWjWxTklPS4kx8goWW3YhUCqyAOH2liDQAr/dPAh73zEwJAvie5idnamS4hCBgwamYWov/A+KpdyQVPSBGXSZnWlEjsWGpcsqBHKSj9Pm0TfJdS26VZIaVvw3Z83GU6Pk09dzbOAZtLbSNldKF1MF6e+87D/KY4OKvzJGjhQcKfmF3X+9a0SU9muv5Oc1eFftD0qK2QrOu2KmCsJNGEH3q5qvovH4SgP6MkrGpQEL0Bs4c1tMERp2z9zdZQk227kYNp/ujMJ1Qijj5DIkoifkPxJNhm/DBE/YRQG6EU+rPuM0NNbuKh0uYd48KBVbX04bFfNDlBlJWXjNHS4zBiH3L4JtUHDgsKkp0DqD911FtWzFbK7eMYilaLvc2+UMNLEBopvWcUMA3QkiT9sj79MqRlxPt3V97in58awQ7ZMLuiiQ1gf7/iMUe4b+xTjZiOktfejEwh2mOFEBDhGE0/ogSfQKBZQOvJM32Zu5b0cNdam2SP5lGbypvkiBbiqgvobwVPTHi9JcDxRK7YhEn/oU9dQV2QgHHP10UMBxDeAKWbegVpr9cGCTBjuqrfQ+uZcxTrQycqeQOKoTHOZ1shqw6k3FsGw3ye5reILYTTUS6d+8rNuIKwyg1GTpDm2RtVCK/IXWEou7ykOCy+MWwJI3LOWnlpmDGR0JMqiPmCKmHrDN3ZFJgCpAnMbNQAytJVbVXHD//81rY/U5MNKJGrPUEJf+AIhjqMk5A4iY3V++k4H0sLm6P8/txiPF5RDdPXsU5jJQCXyK8P6P6JLRzJz0JIYBjhGzi1dy9I4KAZ+FU814pLExxv/oB5zruc4UM0RMZl/cCn1nHo5zgvBJpMe6qHFxCpfDQ+7f95fLWRDVaDZsZa4XFfXZPi+6yYo4LgN9X3KgvPA+BecSb1l0rsLqjAz1K+yS1ZF0J6iUxwgylQlI/EV6VhfSHrh3IprG6mJyVmOek06AnvQJb/6iED/qF+EOdzPfecMl+Eu9O84n0JFZhZQcPmFjrGbTHQ5fuV3gGMbuK2TlQHcNWzmDmwir3fb6OL+wEQ5RIrMbRHGLjaDh8Dq2vvu0PUHxkfedwe7X1hLiqy6nXHt9hb/AGhQ9PBYssFIYKToiAl0az4ZQ/lj0IBzdbvY/i8/57fC9kmNUGxVYnwoQZUqv2uyszdOQhDtqy8viA++jmUjGIYrhq1BXJ96SJ8nCyvQe6Ef/aZRZi9O72wPvmmbbXHrjUtT8Sy9HoGjlF2OcEE+8nU3nF25oq2FIcZu7IMlsotuH5+1my+ENprDO/T0Sl02DYOh0XJoN72YxE9Y5YvLeN8/tPq/zuc/ymIIHvx/qNMdlihOMhBqciDjC4/onEtl81JsPtyhShNCF+njsToPwIaDicJzBK3hOWmQ+eQYaXTXKwkolNTEj99HzXpEcezY+14sM7uLm8nRMtWMDhlTyKi3UtZdhGZv99h61MucfJAKanEXG43xwxeaz8pON5Fu3f36L7Tf8RN7+ojkGaPYQotWsK2A78uVGnvP/E7SnMvfP8vtR8PnZ1sH5MnSv7CkohZWs2p0GA7YYFecn92DCgMA7sgfmxKr0Qfy1iSav9FUo/rFiOtZX+eZyd0mdOJFu0tOS8fWIJbOcGNpWKKhqc44U1XXEO3qMiqc5+pOWCRbegX9FhsBDg19WqAivAvbbuWTbDdYlgGuEgvtjQ0ltlT6OOavJa8nLlm/4mUSOgg2DURBJuO2d/el9V8oGxnpQ1wEaW9kOSj5oF6hdd45T5ZzjLpXO/F3lJ0gFkphkijebSFLAXTfQse9/8JWtjGwcLlwWAIGkLuG1/M7GwPqTPkK5Qc1k1d6E/iS7fs3bc65k6bYuw+klvS85D9UxFyGdVXb053nu+IVM5DSurtDgh3nsggLovgZVla9Iq76txsKBxxhBg2bSn4VBjW0AnNzgWFkF9cMaWRHWtjxtfjfnnMmR5eQdgeWk+ZPqXy8Bdka+a62qjjr5Y5JTnBgme/OnAOoXGGxUv676liVN30HpK2PgO6iUwIWhLGtCkZtjnTC9r4/G/DiH8o4U8p2kwBf8vnUTlNCZNNOcUUDLYO+oBEi1rKXeTbYAUodgex6iOt/3gASwKMqR0q8Cj2ckc1rJ9bkuRYoT8+Pp/Z3Mjg/q4xoGmXzmuEJmS+XlMgdd7xd+bIIMZeFckTwS79A5dgEVZFsAeWjWJPg31yZmX0nInRZrdJPuoHxFuNSrTVHTYteHaMqPSAToT7IqdfBdtKIP6ZjrTE7xQln6IGw7kaPkLCTn79HZo6j06kz9wAabxyqDjWFxYfXRj+DQ1L76NVyaJ3c/Pk0nK2K0OjPmUbpq3P8M1OkVvrVku7PAbLNQa/CIIxPH9amjk/z89pSxZTh20xrwP/akOwnxhCA6p8vTQu0sDADRJXuI8fxVEsfNn1NBtiikToM3PdaaavFKc9ODuq6NvNgirHa6u0Ha+whVGvSTbI2JPK8fFs78GlNlANoCyuNfeZTVvcO17oy+kDZSBPyexAMUdiouO7Hl9PJ9M4/ARfJFpffY5d3reStYEq3C9Pug/8NYCOjb4qJtMXexWk6lo+pBX2/Xn/H2x84GGfMSL0xVPVr446r8tu+ghm+BqYohXblmaVgP7lwyeVaRLZdDzEJ8606dnNPyI0A/a3k/eMcSCTs3rzZFrnRzl0L191kYCgq3ttVItwo5gGqHCgwgebkoSXsk8MT8JSIdt1UPeiBWdcH8DuOb78P08y7Z8DCj3AukMQL57uQScxPYdHTXnZDWFopceXOBa2fYqxVia3SrFBgUgc5Yr1w3VVG83JS6g+ZeHf3iAiA1vcLhmKPWf4cHs4MeQsoAH1OBPfjWFx1uKoCrC7+s9fktRCa68V9Wm9aZQF4pJgORrPnDYQ0qvlKcoSG6ffkqLCNzEVVTtG4fSZXTLa/xTViImUIo/FAUaOrbC/E/Nj6HKq0hZn+Ertx/GS2LpKzAKCZIKVD5+dzE8CRSccbqUgBCRJxxTFjJvLSD5jpm+mFEzMbNmSwdhftFXKkLnIPZNzp4i7GsHnHppTMjFj5M7psaTe6I8heSVh4vqKVIQhd0kyQDtc4TVGUrmHGsLO4CyDhxyfXCzmNKAwWJvRHVw8bu5HIc9nrqXtg+vUOvnw32oZ5XRnTTCx70iJJCJTPbY4wFCXGK6M40+UIBspTAnaM4GmupMDgsZMSiUl63R6fCakjfP3uW9ECdkk4t8B0yix4c6Jf3Smm+aKivcpde8hy6u9sgAdDeg1hvBYiYjolgI9MkDMxHNacVYDlT6cRqMHNTuLwkxsk5ZZb54RTI6yWW/9jG5cx8c3Uw4Afa4DTUKHof5t7qd254TJ62VQfnMKv04nKxAzBIznn6cI+UnmGmVm56mO9VVf98OerVCyCUaq/GT80D52qwzTxHMU3BbE/PzJQPwKietRIYKCO5l0a3lWpRVHqFSrbfFFWVPoOdAQSqTj8u/D1xCD8xzzBeaXnU3tOr4SvP1RNnMDDL2SeH05syEm1UqWfPvAQuNEu8LQTutB5GWMvivllKBbmdnP7zU3pqMIYFYVy923xbOZYkmtRZMOU9BK0ffanxAd2ApqUsojuUuC92K5sMVgggZ9D9GW9XTIS6gz0ed+Zj7gsyZUzUazWV5LVFL4VgU0Mc1tjJNweR5Usg+/0b67Apxtz0dYbhUcX93Lo3f+t+AFSRg3wW4bCy3nbD0kZ7NTIzzghVti4omU0rsunu7BuI61ic2ZmINHWNkAJFeErLfDCwyZVjpj55FJP93QuSrL3c9j8PUW+E4mBeOI5Ebm5No4+tm8bqHzhqx1/5rGdZ/pDgfmvUsNH2Cp9VkEEg+u5iTPLzEd8VjPgiDxThseP4NCTJJFzjEn4Or2jTwRMU9Xaj16i/JTQcVy0DtDdnx0Z8"/>
  <p:tag name="MEKKOXMLTAGS" val="1"/>
  <p:tag name="MEKKOEXCEL1" val="C:\Users\nlarson\Box\RIDE Knowledgebase\FCMB updates\Chart Data.xlsm"/>
  <p:tag name="MEKKOEXCEL2" val="zzMG_Chart26"/>
  <p:tag name="MEKKOEXCEL5" val="$B$14:$X$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1d165b26-d8c0-4608-8572-bfb537b25ccc"/>
  <p:tag name="MEKKOEXCEL4" val="636415178352212596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C9fNWWEo3xp4JtRApeUg7POmH0DqWN+KxgRhIEaqVD91U6nxL5h3P8c+/UfQ2nWoVMuhff/OeuintfVj9oJQ4iDJY2tK+k8ism1OLlv1pyL7W0THcwFFgdqkjYIb5OmCZ89xRr+FktQ9HK9vi2JvBZoomDxrW9NTPY6uPc8BJ4IDJHf4WcqWscUbQxMxFB7XcQTUlrgywwECYS0G/rpjlXIg8oUkHx2J8qYNIvAgX/ivhKWgyYAdly1QwWPL/YARLvXyBhBxmZ5OsPvwnY7t1TkYySLXg3TSIe7gT+Jv77UZe0RmzYRcx6bTFN6TqXnszDIjCUNmqcQUdNqZNFuZLVRZgvxBm7RY1Iom4nOb0xT/7vTE4c7WjWzLJ4zpVyYtbLfZuitL1JD1qJ4RCHFp9V6kM8YvqqYUnPe1NVzY1HafrwuKGkh60841lIy0Ikic/hpZ83y0D/4obcKUAm8caZb1qWG816rx8liS/6UXpQtgMBwzDTPVZQGP41BIwpIQSxag5IkQMYBZJyFuSjn6LUwzExtc9QGPXD/D4ImqgcT3Vstbyzs1wMPXYWZgtfEnlwkRCVib6W1bRnBY42kZnd6gUDastE5jUlNhI3xQetWNq5Yg9tBbCZms8+jZ5cJPJxOmSIpCxLmkTOUFmWew6emhhlYTPcdDdP+ovZufOI+NN5ScCdL6Au+rl0lxhgJO3XyMcAPAI2cw2h6dDwp4N3RRK4mU9BlM9NCCL2RHawUg9YGj4ErjcJam/m0cGNTMAb6z9TqnkmB3sMqp1N7/BhR6F6m5y9NG1S8QGUROTmqXI3d7uikSnOOgXf9QSgnoPHLk8s1jlAUcyCjzlj++ERIxu8LqeLPx0G4gw3xJUU339FcqSC0dCyq3Lj3SA4a5p8Oaj53N4fv3QbNOh1nw3aBhLnwJklFWyNM0iwGqRduvWniuzq2GCgrc8RYr+fAnBq9fARG1NUXcWJ+PyFcD7bwh2M7vmPJLUSxFlqoQ6xdkesejhVTeKnygl+405zCHxYD8stYp6gQ1WB/a95Pz7EAgGtg7vudvic2haF7nZpyLRhcsusHvOI4HBIEPCVPzY+8WpucvFDbfGP2HzFCD+q7QdT5CC5ZxhSnsWkSyy1QEHVXhnwdPFMXvZzvRvu/+YUrhCRIZJrdZqfZv/ngrYN43OlzrRGJu7S+S43WHNCuLNUdNai/gt3y9BKtBbQJd3hmJM3HHeVaeaGVwi/rNk9sfbGmIy4B0F51dmQFnucdDhXxvdf2jY75QqLTFdZb92aDWNWTT7kBFAprRwHV0bjpVlxRIxHtBmVvyBPeJ79oFY7eKiLYBOSF6vBr8WKlv8pnYHqaRqgeP6ErmuWFoql/c1UrMaCOE7x6kNndIdmlOUP2OOwaAk96+RMMh9/k9v5mPHR6WBX2q8PG/bYRjNJIW8PniBGRPCl2eXr8oAN3E/827ERk3hH22borEubiSPpQu2EGQLqA3oV1O83+9XXVliPyswjzwIMiS4gt3rAEg46Jbocwb4CwH7yD0sowxHaZd5y8550YNdJhjAbjivYii/RlYFH8qUy5cJziDgRowwjuibByh3kbSN0sdMMHqWH7hw+xhSUEuR8Mbq5Xp9np6twGtqngUBQ3aD6B6My41nYUAL8sIUzpVU9xYibBWLXzyNSpxZMW4rGkjTZ5nMrmgS2TomIepufSfAimieezE/LNtzaiJc9rlZoCRvHtzslGkb4Pu/+ai+/F6X7X+2WabUqDAYKwaWTPnwgFkcxdDIos1mZU58hRXFfV6tq0cKyMWgO4IcHGZIKeOecTzpeyr6QBn2sOBZfVDk9JZ9y33jD1JQ5gSFfLGSFfgcFjGuuaJUaSrgjkGwmAwYk3HsNlg2GGv34Nmh81gRPCG+p3IvCCBgh+F5h42q+N73FbufQ4/GvBWfI6W1rURrSXGYRTKDyVxRFOyRmixKZQfpWZzGSI8LXjuJbOCXdWlrE7r65z6f1tCpkkaG8DbHtsQPWFYKIia/HMWO6YtJgLCHkGoYq0VleZgGu9s8hmxkxk6fczZWTHf03XlejXgzw4Hcp7neBpRmw5hfMkYKrY0p60JhA63UDbc6IrjGWCRqwxztU9hTGHeAz+2pdcVyYsdMyI5CV+xH5XdZxCR8UZC1XGTR+naBzzcDyaLyBs+9xps17IM9cm0DCKvef32skBwDwbHD/AyfwWorvfOPK4qXNcuX2WxwfB+570/gKQ4p2AxCnZL8WEBqAkK9+IVGsvk3IYHECDLNp7C6taHQi1HZepNOL3oW1eYs+cvyoKdsjHO8SaxQglL4gc0bpR4+PBS1akYsCbH1w/1J35Du+sCD0pu8vJXGR+WPcG1IwL03slyCjMG/btNTNqViozAn15mmpGLvqIJQXIJp7fVOISPzR2pnO1oOWfbvFXF7cVLKGJMRKK7NID97vNCa7sljPrI/O2z7qaj99PTfiC3mLrnmVEVg/mXV9vMR6ixQuKWMJXDmnP1ias60/ZSMrtG5F7EvgVhmM+DtL+1kw4HKrt1EMnBNpYQhalCdEvhtxjwPuVEfuQfEK7h+vU2Zf2z7mS+DwzPGRZZjLFykUAODB+NHbwE6KsasKBdOCFnaAaeG2hd3DVKEC5TlKuUeO0G57H9x9zxSYcqjHx2ZGPPPPZj1MrZcJAoev6GZWGUwCX/0p36YWn9iZl0ejf6DRclL08Gu837nsq9nsbQT286EwKkU06886dMH1wbER9BVZhhecB3d6MYnAGgPPEurnpABwpEZ9F7o5k1sVlv+aBm46lnGNt0/UNcoxjraQTcETuZaC7tRsn8Jw9MNJ/DAJgUK0OCinZQ19iWnkxVxGAdViPyRMS9O3GGl29R+hOG2qAfGThcu89WUamA8YHbLhnde5nxMQDtLLIakkfIPd9D9x9pFtyIVydmMXpCh50Pa5lXGYJwtAogZi5+htc+MI0ScTmRwLxXQMBnrOe7DGfmWGyt7PmFq8gx4MCHA3bywZxAqgrgbW7+W4NVtXhlwwtaKKFCe5RgHfV/oN2NYRaSsG2yR6c0Khghtklg+kakAV3tBnNCvJnfCwi93sZjdtPsvg7wcxX6xOEV0WYfpKn9Kx9JlkkLEkTOe2Yi1PmUk3tm8I94tF0+SbYGeBdJM84O70jJRJahNtGYb5vJ1sMUtP1osD1lDe/KVguMvg/ADCTVUqDc8+txdkDZCTx+P9oGm2+GST7Wb4lRvKU3+KjXb9VKfzipmWWz2YFM6h8aaiVqtTLKj907Y1RLvo/LCdaZJCO8OotCT/3hfuWTjNFXcehsBk54pCFJV6WF1SZydP8EwZDlkz8RcaKlTQ+DZFB58rCptEEsDT5wAaXlAlDLtZnBSyEf7hEyP1Pe9KgjVK+cIW81P88Zjpuyqfy2z6fJEh+T32DAws2ZtMWCQmcspM22tdL1k36kwfcPIWMJNeZhdYQk/mDH/Q9hlQFQI8lL0Cqe/aXyWEVO4+EUzxbqXraKmBgaT9M/xKR7KuX4N27bJMjjPszUIA3HGbCTiS5GelD+yv+65CQhK6/XmOe53mEYS/VrVn7e4k94aR+qxYcK55SJMU6Rw2/jBTVoNA5QouNhhZcGtPpjaje/ipP5F0AH1ZmJe37pOPzXUC1shbvYY1vwnEC5GUWrRm2g3DEM/YGz8XUAFMgZB1x2Ih4rTVE2eIImeS0HuzKH+PggaluW9PpyYDR7rKuU93mJGBuGZxMcB+5xoVSgF4xC0qJ/1oD1rb1KcOAsVsaLwdAowo5dAXBABAs/83LJAufl5g1t0SyjJ6z9uSj4SUou5DBal9P4HAVZR/gdxqV9vTPbOjsBc0bQfNAz7/5/nzMqZEj/8zoIsXbFX8tAkKhe3fiomYmj8QMsNIc1bqXvoFXTZ/9pKZsspmnDoxcbn17XPNfrumzPa3sNWMRCgFgUV1xBIMcW3b+g7xHC8hNl+/k8CTSuPakdfAA/kkRVgDuKKssrDI3kWPMOAxx62QcPZUVKS5P4OPtaY+44dnXCg6K12dIxddjWwxJ9NpYFup+3N93QR4MAbDbkZVGpTpmzFymmBYyysEAVi3kYoXe3cEOo4XKnruqHhnhvaFklj5iW9azD9zIIdYxq1PKCPXrvXKHNyhJX9YVyrLUXddFWDvO/rYZ+7ngDUx5z8fTEMVv9sFq5yhDcgAjuaSpoIvq5DTGXecOhh+RO65diu6MeUCExkMCxftY4BL21bPu+CCLwoRAVHaFlyQurGyPhQyOKu0vd70Fr9b64sMOMU1YlI+SAbbSYcplru3JylWWtKAkmnoYAKl78h5wd2h5Z8z5oOnunMaNcU8fQ2pJycIvV1vK5P6QRlG8rQJGSMTq/L9ggVPSEriFb0CEI4nP5WhMy6HgA5701eIHORzhfH1NPrFSbbrBzongPHNJ/dOSWtOJMPdHE34Y5PLEL2liFv8GZyqw1Srk8A6Q8DUQcUYUsiy/tinqKTFOFejNIXCMwypeRoyifcAn42Cth7Bb7t2WoE6jqGD9rtrP5g/ElV1Q/6fMakaD5+RKLKWi/jdKnneXk96uvkHBn7OcwEl26wjoy/sH40MjZy8hpiDjN4HOfc7D7Yt9tVxI+4tGWnhMK9Fy5djdSFi/JjbYbz6wHEXhHopQxtp9hjKStRzWsPomCQxDjXKnxtwbHTBiosFyZmJv5K1moys7Yr1fd4gslfA9XJYBybEZSdjPFyYohxIgr2krI2iJ33o6c+UCIET3HJWKBB+TqrluUtSOxpWA3e2Qf2qk0sd6qRb4ykg0eXocdYB0H2bp19O0azah9FzvxMT//VnxzKQIwByvCMHm8obtdfAeaOCLKSKkAAKmf9eFFpkKOXpocSEIoUs8HPeHX6PquiOaA7ZuH1AyOqaFtgM8ZbufXDM1a7+sYwaE4e2tJfho5cLxoOIEOb/Vk5zjrLlZ62CQnH0gRJRNbnrPufw6SEnVUPpG2LIslPvHiy8hvTk41pUI2p8m1OMT4VCTKL8xKy0YlBvtu0TNINWISKl4R6Q9O31IwOMYlnUm2eoIaJoZQmr3/bC07ZNdx7/MCYuhk8hoNSvJINY1okISx5nJLTAueW9Xs1a/B1abMNrFQhw74gFlaQG0zSFQlS23pLSvMHsQzF/Lf2TQqZvaT5/VXEfzK/KEvmargAg9Bz6d/ev8oViz84dGff/AEuzJSaOOHxhEoawBAFfdDGGLHoKMLl5JT0k/l8V3SJGruLzzRW406VNMypyY93jWLTWU/fSO0xXj+ITk7PayxDx2/8eXHfKQLN9sj8ZSmsZ2x3g/fWADvl0SyxHvUvbUVbtnQOQV2YjtIsT/023KdETAUVfO4Hq4Wo/QZu8pJ9icxNHfLZIS9urdUaVrv0OenYuks/YeWpA41nmn0lggp1waeFLTwWbC/ZLLx/bL2jYZRz1E/0hmommwdfy3WjaDKa2tblL3X6W2fv38sfOKQWuT9SKJE+Q3Dtz7pC4eTDrh7dj32ymWXfwTxAEKoIWkVdobThYTS6uVAAJUoiraQ5N/rQAnAKo+DRG7V7mIGsIdfi0UmhlKnIoxrISB0tPnDKHHmL4pjTxfPEhL6DWy1y5CQ0uuA64tNFp/OWerH5ij1Gsu0CkUphhJPTGUG4CCVxOkoVx1C4l0Du8MA7fIWoSueeM6a6ZC2WV8UnBO6aPh7X+7RFr/kemcW7rT2oHIpzjwKUotSu9hoy6JBIgeMY2HXfyi0Wih2SwpFv75GBrb8cPeUz8arpo3W9QkySK5r1GfhmnvLge8ytrNaVbAzPYJvHYOxRuAdUM3cLYfAGSvjhYxDlc/GgPDWVqjjjbNapFqcDB8LqcsdhYzz2bAh9jEBA74VF5w1Bxsy6K4F/FYDZHIrNvCvbCQ15YebOwk0YwmTjeE+Uc1TltaigyYROYdsqwdyvUP0s+VOBcRnYOpU2ESbh/UPMGMwuS/Q8P8LlQ4md9rokOrxnOLHRp8Z9Vax604XQNtkWy5HTohYaycozAqGM3GgqcfjMkEWQcVZzaYcEAjZedetWxNq558BgGdMOUbTF7fIihn9r+ZKXx9LKhtctvakNWqvv7ESQrcatJcD1pGDAASjIBeuLCsT9Dc/EEefvLxxvbS/IazQEziJZ4ZCuyvLpdBUkEPBFSFX1I+Sv41abUfiXLh4yoxlxoERgeMt56QKqlnn3wTRPLvYrAzJ5mOXFMc+xLByYTWuhC5UjHYSmeFa33nNP7remSm70+KO6kLwE6frhhnloVsx6lyXc7b0ilQW3jBk4Jfa0Z9BYxcKhWgp0Y2v8FcrGJX8L4PCruOEDIx6cKHkc8WyCiZkgihbRr92SsrjcZmwuKRQbd2aaEqa8aH6k7EAF3Ag4UGRMVEaXnWE5Optt7kB7kjEXqb232408cdtltg1pJmbURmtHYlo1eCjCmn4tQrcAvQRy5+rFUAkzt5gYbIDqe3mzw0rb4Bc5HovQQ2forNmGkeOHFtyjxrsPsw8RZDDOWdT1d2p7qF6OOzK4GnWec+iAG/vq/T6YHYK4ZdkOAyxJrwDS4OKGYYrgBhzBNfF3AvrgRN5ev1NCeQjok8jPezGb7Y359+1kzU7dTuPvceu12xMeLtby2VLpXsHkXGHtpfXNS3T2aehogKXghUKo7zpLIeOSMDk9LcvynnJy3EEjZ1BsKOvxdpPXcd9qvr+tg4R1TAmkENzSHDORZC6FoFtqg/xeBDJ0y9p915wwIaUdIjK7ZOCRXwhjRkNiih4vBKp3Hma2t9+SCGu4ho+W1NRY2drLv6ykENMLWWKpPEEhAS6rulncJif8OmyUQe31eO40jiJ7mGfnsrJ+QTYXl1z0gtEQ3eG24Bg+rMfsIbmqoGdCl2A32FjRZ8x4jGsZzFsu+ocYihSKxhQ3wQylbL37PdvKtir6MvXSFalwdGmKucgPxJm2oOq50G3+KwWkCA0O9hNEpBCDKTLHSf+D2y4tHvMVJDpDYNRabEJTO6C0th7ou+FaxS7+fCtlsXV4/Y+VQuPtpN6BuG/BkNYI6b0tMjrmf798ZjJL1fP052ziBMxaNQ90GQmzTw5C+Wq4wcoRBMMzDbTrKleiCaKXrqVgSqNBe1hIml62GQP9DdffPQlXgePiWXEHxt5wT6wZPRdwbRGNgTAaYzWA9TMrGI/G7tFac9Oa1ylhUxzX+vMmFhPvFrX16VdZSDWvZpnv+uS6m/KIjtAdpSQV4kQ51hw5q5znLgxdvuPoPUlqPpl9a2+91QHBcU8Dlp8V8tJumt/+M1aH8U4vE+04EZW2idcvBhLw4hYzElecrzoed3IEugZ2QhUMEdpJ37wJnjA7/FKBjCxtYaGFH+tX7bacTmKaPjTKcM6F0maVuVozfV5UdqvbfjzAiiww/TEVMe+9op+ZOtTPtnh0EbYmDaf3v0gLeGwcFubrNmevuHRLDnrZCdvFmI6Za9dZLN0+6qamUMEPcXjBNOQm9yTKZpKskswAea9aTLzRzDRxMuTiBTN6JmEldPtjfC1C8IE7mkvdm2+5kewvzvfqLjN4hJE+7XLNh47Srrc2UrMElC80OYCFku9JZjoo2zbtMPXOFi4q5Da71TJBjCFcbvtDskKSVMtp9yS9Nq5Uucv5J+W/F/Ip/AY6m9gpbszQCgognHAx8QjHnW0X80iMg7HUNsv6T0IkHoEtPba0PITUwGLgnBhAz2lQwTUDmDr1L7JP6B5Wlbshkt37sI/3ofuTDmdjC5mem5WGQIH0snTz/PqS8btRtWAa19h+bVjzVA9vI7cNqFECdzyvwvik+CjwmECCM5DaU1N81hLXJIJDR9XyE5+z42MbO2JwH+sqK7XDh+gOB96ZB53Y6xbZ6dvNq/5LCpiSJkujiUfFGUAELtzG27RxTgFU1NHX5K1ndOaAHBJgML+FyTkN3C6DT1XW6vx39IonkT8JHy1HCpXag12S+9ajQ24sBuu6Gn1rzbs5jEh59FOVPMwl21OACw83s4/js+R88RbhiTyV3i7vRxlGzooh14oQHdz1ApG7HdWRbgn4MvbmcWZejhidPGU9bgOmbRFAgrZbKAQRE9o0YJj97VNuno0kPoAusfB5l9DBWBhYNpV0vbpTsu2XLTdvzoCuJALF9p8OkI3jCJsof3PS3hWw3ZlknjJ9O/0ZCCAcNCmejpKqm//v//e60IOPWirjwNpt/TPe77pwt7WDplLBCkL95YDslXBDOEBAWCtT7Nxn796yQ4EH6C57mNFZbyAgfVXflhrKKTSrIANO1s6Q3zIVBy/ZSNrMnOBBaGv8RXwSq+V/n9lhk76r7KBa20vWGJwGxE3OKv85tuSBnYFWEfO+stfid6DvHb+c6rRGZXOBueO9DoH1zIbVYZTX5ndeSRsUEVbGrsA4B8zysc2WliyV1Aoqenj18SxMPIBgO3V+uD7Iof+hf4fxKNuSHx6RnkVY0OHKZ9ks43851BJC/sMWtpJpoaCHFCHfEjcIxTxqhK5ctM/dmzROATe1Ei9+djzAzG0c+bSAwqnxwP3YX/Igs0IOUNpeQUqwkUMpIEbW3w4D2glk7s26ZVTPfpswgE/UJ1L1q4gQF/Q4Qqr3dLwfSLLICfk+dD0yxOjRnE9SdFWhzqdpNglpPnkpM5bD5CPYG6tJfq9HnnOHrEowBvTgJ/yCHHPtH3R+Xh9f3NAMdiajdq6ZL2qQcPQGtcTuIbFST63Au3LhWTQB0ZFxWxV4NO87KVjdsp6+VCYJMl4QpcOF8co7b1FJ6nNMZcJp0tDdzlbVwpflO76hTDGoec//CYiY1FF3DG97o0NTjVGOxliVNv9/PBvV7XSwjWHtimxA40Ng+JZKzEDFGoz7Eehiu3WCIsYcYCnJEWz54w/q7BrUh0XtzVWFM6umowncrIph3128RHZ6cdTTDWHmKUDuhN3wY3OLlWiEd6M4H1QSVbdmBMmcwiM/MtJXYIFxfw5kSAu2AR6mgJMLCrgMKPrGqJGR9NJUike/lAvnBi3UKk1c7m29kB2N5hxaUg6Lo1wghtV1wfw2BTBhAZDiZ5s8vc9wnWkHMm4e64mL8CoHiPhp43nHk/ce9Gg579QFeLo3daHTg4Tqgy7x9b1TuTuRWRFXmeQFF3zHjbJnR0PkuI74V7GRZOQE7vIdNxn9Zh8VgpO5QsQVv4tRR7A7d5JCrYFCBg0o5eY4DPBgmdWWkUSkv97SmU0tsG5Zl1SH6hwuVXGJjJj+8OzIPWO5nETVik/cmXSL7Ci76+wGkRBEvj50gYwH+EsUhKKKns62gpSqL0weV5IYxCNslp510WzmWqGsoFqTC7x+0pTlIR6zpiXaRJrS9jH+gdu8naUW2T6LtsLHX2Aumha635NelyV1XX6/IJhQeB+JaVpYHDSo6Cf+ZoaUWeUedpVR0JGhIekE0AyY1fgbg5qjZcY64Tw/eUNgCA4hvKle9uw8aziEXdsa0MZ/opti00T5r/iaY0U46kC9V3dwKh7J8fglSkkBzsHoApcXUZ6maeF12t8dqLsZH67OGMX41ySz6B8OmTL5LzRDP4+k/nPmrZ2w5gdKLP1wg+LLXrmojJF49rESH5oyKbaTeMM9iOm9t90+pbTsLCv+BfJmNZTsOd9Bktvotd+U3GfktaeeNdRbJLDbcu23VWjEpHkXbXcD7zRaf6cHT4pox7dZVB+Yd/ItYb1CoKGSiNb8EpngYzjcHTQowJefthDnfLnE8YHWfCQzGq3/MHDAOWN1lwvaNYHy9o4I2ktY59i1S7e/PcIdLPFaNVo+iAVZFRA5bKCROdX8wcUJDZyL74j0d4OAzwyGkqtJ2jDTcl4Ug3Uov6eoh5BnBKvhhlGdeo3ZWDzsnYiuQ+F+JwU5AVZZ8doLgPiwIqNBR97ixyVgQ+8zUcSEtIGa7ZkB4QeKX1Yn9FQSri7MZZCORMkXGmOQT62aTarbwg6uu1WxnWMNYs6T/Z2WTSfT4ThK46uFWv9DVuH0w3OFLZCbN71w3KAepDN2KkGBhCW6lZ/amTFJ55JrkdD0aO0u26yDl7D7FriydcPKrs9ZWnq4hVaFAI8tVPoraNL8B6ZgUbb/1kpVaReQQckvJokyRPH+/1NW0btKldpHfnA9Gsfr5xeWlOrzHrZEmNwcXKwwpu/Tg6dbA3H+bDT9ug88Zf0kd6SM22nsYjdBDc8BoeioB00z0JfdK3PoLYOTLBYAizfy39fWJ6zusr5R1n8wkKMosDyoj+sXQkTxgAhlw8mJJxnavIW+1XBCvWhfPHIKhbgq608gtJgkKUZkcIP1Ufm1TCuGphNK1JIwn3C4rjtx+pDosKOqdLtwiS73XFGmOgU0QkEAwZsxTiTAKvAVmcEIlzJJABhfi0R8A721rP6IdZTP35YNmKx0y0uiQt3L9K9z0Z1WjqE0dlSWwoNybhdeaN+tp/Fbw4ZNlYYqKFhfnDr3fM4wwJcGlAcOs3q1jeJlKg7WodKJnBAqVQ7Sj7pLmn+uqUCkEMlOYyj8wP7XVovc0AhaYAQN/XssQwLLyECBa2B3UDKv71OV2traVagISOKy7fcjBlIfVYnquMrK5DygJTZOHdleH2nQST32Ko1m7VGYSzbOgOqvSD64ONsTVFQKWAjBlSmGJG5m1GaDKtm9JGXRpAGUHF3qGpqtngbAYTlXUKfmjRbehyKSd88yTjFMvwbjhFklKofBuPN1vcwFmpP8z8dXAjhjNJdGlvhOmDvToTq3AgsfWh/emtlExHVwj8QKn8BuR6R53SqGbX1lRBqj71wNPvKDlY6nORSG9YCBHrHG7GbE5khmAEBqUoUlH5/6I0PLJ3XcVb8Zhdu+pMjU9fMblmY3K6jBdtzMDPiKbZ6bfM80ZgySuyEQL1dT+cEgjZu9JB6Mc1JyrrAbH5ixsgXLanZnFBJIUWu1Z0sJWMkexvunjlCX9+xanX5FKf6uZF9PgMMljlID8GJDMI9Bwqwg81XAAX+gnhJ4hQsDek2KBfMXU9Al23r/onHUpABjCCSOG02NiGh6+k83tAJFuagWEsnEgudfiQhM+ZUNXhUh6suY/5YyGBJYOczKOi5vW9Qn/wyO8F/yG1XSaj67g/Q/zEyAcJdBeuYiQmAwJuixKei4ayGyNvAsi32DwZfktcGU/eOkU9+yw/L9IDLqOqr39lrnpwYH7iln7ChQX2q+ydWZq+QKhvYFDE+khydYozhrx32QW9n5s0cMieGWvmDlI2xx2/jkJp8BDi/PFboi+6b0QF/nc5+k7uxThgyHbfBgSyzJz975I6c2WDpUMkTRfrqN1KU0UHgBTor5+EafqfA/KoidEK3t4iHFiQ2hb3aWzx4o4CU0/4+un5zxbIpj1ynbxAuE36aw2TrXvChqSdqoCJxu8yUr/2XUbwsEorSL48suHcaNyplEq8MMZveRabiFKyO0Z58blyNPVQ5cIoQWydhko+/t+gG5QZj274UGcn71xDjZbIy5BWNV6wZESulYyrYXjnK0a3CbG3occYUsufpm17k1vEU+1bejxR+h+SDdytkCHj93BIyawirPVnJqr1mmtxv4Ma8gVPhZ3ijbJR26Rt9/EhJ7C8FjKf9cFzcpEca++1UDPYbL/UAxS6nq3HAz+F2GfylpHKCzClFoMAGSTYrjBYZoty7m+TJhob9GzXXyGvS3dj17xqelf9MDFYteUTUj2KlJhp4W1Am/10KxTTPe21Krb4A2LOsfPBl+cq3lYXfqffh3AF5Z94r00+yV08N0Zr32olC8yW4YC+vCFVAH6S7H8TAQVYpaq1dSbbr/cSv4qZ+26B7BupjNCOQqd1L8H43CouEJbThLgRXHAJUE9wwXxTuM49iyNvdKhpD5xV7gu7exexdcik6Bz4yS5a3IUAfeM6d/ugOTE16AVssprMeZ4lNEDIMU6OFrmmmBDrlXiC8rNOiosirHnwpQPmH32gvGFgFHkVs3fZLHU9sQqPUv8qUEmPM/CrVPyZUeV29iFtdY84Fve/Ia2Nd5kEDfz8CXW6WI1gTAsKEL9rVTkGHlfwteg9YkbmrVKHOorsLoz/liHO5rURz4tmh3ERHPC90kJS9lokjm0+DDu2wQ9y4MUt5QYuDO/JSWgL4Wzp/e0fdpw/IX+hsVLid2T0Ponl1I70CIRMzNS1dVLYQBKiLhwjc1/jR5YPA9KDs0AXHJSAGcvV+t+pOir6li5sMvYtZr/ry/P21wxZuZWF5etoiuQwoTTNaK0Hox9FqU+xEvwqQcj1gMD+//bIXFqb7pjVnPx21u4/ypsKSGVdm+AQrutgyFTFfucvYCcW4BPU6+OADAZZ/RTVUW4KXXAwXGH2MXtD25YZnNMlBSNa2+bj/TW+N5A6F2Tk+3qYEiQvTzlfI/9tHVGitBi1p1Km29jhcX8G5wdTsC7VbT6fVa1tJhGvPJJ0vwTrlUf4D5LubMG9qYO4Aj62ORVJK9Rxori4TCBnp03O4u35hBJr6aNyclA9tksQGNELqpe871FrXXOGgSZQsu1ojF/2fSdd3ivF+2qpxhve16ro4myCXD8REZClScPtIAokmQlQ8Md/jF2HlZ5JhxjC0sePVjbSm0UDSVqaD1Lr14pUfF8JOJI4pCpcGaDveCbfUozpC+eU57gqpoanNhZAIhqsYg2KKuzGLSJATgmXX6IycqzcG7Jem9Q1cI+A20QKRxTK1nbG9J8MLLDuzVgIgQ75hagMgATnoo2T38FJNhpjlSqxrlJ4v19hHWGevWZGwMVlJiasItUuXUXp5OyAkPNox6zY+HALNXLuWYdFhQn2m9xxYGPHyHVvSdJM7S2shhTrbVlcQMUlMFVYM5M6LdP9R81aq3pwNb+o3gGwCyxQQKPHQdDRIS5Gt3/YDHWkFE44WI670fDPbos6RpwK0WiMBK+y/wIllIUZo4o+bVOtrFI8LZzMPlhrcbe4c57JCdj+c2jnmA41qWjMy6PnGkfU52p6PPMl6lGKFJmJ1E871Dz3lZIGWD8IysPBHSHLXFdxw956S6JIGl6zcdcWpsKJ/VZsR4PoOZbL9IVun83EfnKwR3S6hDtOCFxdDEPTkHLCgM91XOiS84IvYzIOXfh60B8UxCHWQWu0svRhDAUqB7VsDRAG72d+PpHTCAvt8xEorYta6BthhfWlM9M9y3do1oPHUm8uZZ74Qmzp6IL/Y+qHCWAOtLbu19Q/wBSI26e4ivPqkpkHQW2ieXWiyAdsHni9THaU0BeJVFXXvjPaiGYNpJWtU97eAIUJpu42yp9xEWEXmvih1YwU4koH2Oahy7caQGrYz9abUrxBxWtLmhQWWCWD30pIN6wRosBmE0ZdOGVF0nYZEcXns3KO9DrP8b1LXhe0Iluqb5dyFD1kMse50lFsE09iVNRnppvrnFgx4uTfhmquN85a/s19ME73jrIzMHj8690K/iTPjq6nes/wNdQowWENBfU2R5fWVD+s0sWXnpwQhoUqoUO5dn2yK8qNF2s+u+L5PWzrMOnNy3SrPBl9rh7ygdfhpR+JYjQsv7kTmMTZDBBgY+mshcrpJSCmj6uuWsguX+ZraOdW/tEpPhNqhlTgULMNM7JPGt0G082ftMcgClc1mfgbMorQ6rw19iC9efF9+FJ05C6ufXj8RhvLpiiM1EBtKpLXT4SBqDJEAc2VNTYH+SREkzHvunkNgliFlV3p+Jp65fP3hvV4eX3vFxvjI9dgOp1XguHWUyPwU6RTasuBcIgrXxAatcHgv+1MbZputAWdgglfCm33nWp8f0wgBepzu6fNi6KenZYxcC80XnuzzbG2aMvkX0sb12Ap08mNzSA+e87GWv93F2CEYcF3qIkdqbzCHdZPITpGBHmi/9PgM4NDeeT1niwKg4hTqkq8lUF2hDiCyu6FROpFMhPonciCxuLa0d8vx494yOHifYRfSNAn5scim8j6zPG/1RHM0pH24RQDQKRo80dUvf+4e+khMuSJQO0/XvkVRspawjpmqg6hNFYUQLfV+q6suHu6ioHspjdlYHmJQGR8CJOrodnIi/93ZqYgLrmYUDrV+kVikgABWS+izmH5862gNGVCv63KOWm5Vs+KDgzTG0sTftEIQzYmzHqZjIbawcce5rolIG/eD5lrdytU5LAV+ewa0TDeMsanPyLDzP1RelQWz9S5YtA6FVHRwfMB1zPwzugN+qBEG147z6fbscHqig9xnRX0PXJz7rS13xG0EbJY9xoXL363wByoGFInEysMj/PPxvhyiRykqiIn4N7ADs/4dfJrMXCa2zhRWA6WpFZVrLMNJWwrag2vM1XPUpeNof6b/5uVbvsY7PEkF7+UgxWgDTWA3GXHnH8A9/QXFb0t3DEGnf2wborFI+i5RvYJVXpARI3nRsx2FxbQXB6+13MkoJ1cAwWaULXIu1xA/cqqkySvq0T/jpSlSrtwYMZgqpgAfeoNHPhrCFJ0ssXWNb0AY4DmyatqntLrBZKpx47/wv/4+I/+1G8nJnP1aid3Zg1SW/HW2XQQER2/4WKAo9CYbnMG3qd7yK6i7S5eGKtB4OD/boW5Zhr2NhiEnjYZIv+Dv9lzA6MKKS3Hs+wCoNqi13bpgjYfNn9xc5V/fHThbATXCMOYr5EdMzL2NtQsmBxyz0yxZ4p8wMSxDyxkk2lpvaFFCwYH46BbaYeaxEHz+5FZXem2cZoDpR5fgcel2XrtVSmZX5FoCIi+XS1cCoIT/lVYyFtVTNXhaHMREC8+PJiCWTOLvkkgl5pQYu44a4FbDqOlTJBWF3Z55qyXF3eH2HZwvXY1jVus7ITS4yNMlJ0rFugYQygvbLCFqZ3WJJtpK6QD93WZuKPZmGKU20LDGTDb1pCumsL+nfCV8HaskqitHB+EB4XhCeuBCVdy4QKtYen5wcHoycW1xBFupIrto5iVQeuRwsMYQ/SWKkdSB3y/Eb9af0Ptex8oi7KXT1UhVWPzfTeiPtulmJvh7upY9hXuclTtuNic4mH1B/u69t7duXiE/Rg5Q4befe9ih5CN7xOMKboQYHb78EShgxldOkeBOE+M0M5a/tsNP+8Yc9d5+YNp/4dezV/xgrdwWfFN9PurXeDLTlzvoXv4LP3Q6zT2Iip41yvBiMkXqjYCBEHYQeoWupDEin22wTeWr551S7bGXZUjyBd3qexzHVjs7IZK9G9POBZI/cUV0OSJT4j3qEKrwwpdKwh5Xo/eH0WCunOUMMk10I3eJbYsdi5aVUXtQVLQP/s5bXuWEAIK8A3CAngdS8MTZGqENfJgmu8jMiLrrrp3QgrQt6ke9bFHMSx3K7A6TayM7Y5EnUvEIwZIoybsUnS8uN+fgm4r6Uyvq++8g5WoRdKyP/tA2R2CIyxZXf2XQzKdTcz86P62pWL1uhJAK5AuhEB5KYfIBKceVczFO7dnZZQRSKDZH0RslpcCp6J8okt473CheTaTl5osXDUsqucAVXaHdWpu3xF8zMTqv3o1qhNFI60m2Us872Q7HGO/U7a+aLbmnIX3jPO2n7b8O9XA9qxpCdkkJ0XZLtN0ZoWVPi/IRqcZetaD0mRt8skDgYe12Ntnv7eb1Ua9qq64AZgot40HH+iNs4FajPtVDd2XeNVictnAEeQ0HBalZpMs9pMLD87msu9HeZ/81mOaHlOnLjfQ+AJMpj8ZPATi7bfxoc9AKk1KlNgA6V6Tquc7/TxL7L2uD8fA0tmmesPlA9RjlB4xMSFXMJMz0MeIH6z3EWyusbeqt5XCGxC9lfyv4FPjuKbVSbCweCnqIJVu+jIoca9KliXae+ARti55/2v4y+glaSx5ruQZTQoZWYQwglx3nW5rY1MYoA598Lux3FIt65jEduisV+Ze+m04g1V/wm3v/2OeO53Vla2noJ4cB7F0lnlBBmkUVoUtP3fcd1QXX08q9gFnvNj2vTcDTIAzApmJbivYh2Z/lCdMZgQ5LB4pZlPWp8Gbqhh2XtVePeodNJMZR/X7JdfU8YZts69F8KP8uHOvdypuaQ4hF7pLDKPvIY5eWmE1WKFbt1wRLFvdYWVC0EuW2KHOKy+Yb1VpL/NVxk70KJQJFMHODyE8d8bwv7mT0mdaLOgm5OhWFcaQLtBp9BvTZ/mpMxWJxao3+jjZVESV6B4+BsBlnrO6d9J8thhf3jP4Wd3Kqnv+Ln23DtOQ0AfgsIIQ6vfm7BRcWk99vbH6BOEaVeswV/mp86ywReedSnZ/xpe7ePCb62mvNSf4yG3pbtIEEuGDFspvc51JsXvmPxxtMltc08tyVY64CPL9l0D3U1ifKkYDxDgh7wuvAs3H6F77sVEZoSR+ZSSyw3Eer5c97QKRnx0g+Zf3rF4Pwp1w6jSMoOCiNbjPEhVT+dS23VSliSjwml9kKbpDzcJYmJeJ1figPji0P/Nor/J52lEt1CSxEvNPQovRgiq1Ax6tC3Xwa+yVEE0qXTkcc2H9bgeBDyvu2BtQiCOKR3brHnwn5+4N/d/dYAgCTwzDL1+qKgUsy18/pGDFvMH9LoqJq69oQMJbSCLQm4MqHbo6gN2Y7vnY18pp90lLTshhlAGIR28Z8u1v4W3acIxFIsorS/w2rtDiK/xcMQ3GqgOO7f+fm1g2IiCjaVanMyBBJY8gw10ARcmymFz2kWu8/UAqy6SpKIWyLEaKfpVhqFSr/OHlk56YtbeJU+PwdlEuv8fJfz0w9nYCB08R5aceCvVzIhyHIetsjMoJTvaNqvxECTKZhBk10As+xS6Y1MeWr4Rvb5Zo8yc14XZ8RNXE0CK26PXZS7McIEdXKr9ChmL1f244/48WPa7XhV7Yonxkj89eE1iGUv782Gkm7A3VdWZ3caKgTrL/wPhrMNcA9ovtXQq5Di0R7S4/h5+28BgDc0+xayLLiAZ6E5NSyhBQ91+1a1mV0IKM9CqWjZYV0+B26HeqvjRCyoBOGlehQdcqVqgFOz1WykoZ5Fh2RMH6dnqEPaXZd9tJk6nvbLl0jJpUOiyWil7SL6FY8OYr2a6rwpwHbkY/sj87m2nOSJlZKetuObEEDOt3QlAG1R0OI0teh94FToqC3fQYHCDebmdrUEZYzF4k3+NBiYqIVIt3/VgLAR5eS7wbDcPgyzm3oPRg6PTkpsbZzKw7ykgbBgwcLi+SFlr4bLZjCEdp1+JWK6nGXeVVCmbJhTjWtP28AAAteMc9m2kP/y739wqoPq2kSHV++PteKlxHQ0AVOSnhxvgmx/J3+g0TvrQRCNBsp5WBWQcwcsbsMwwvQJpdqzzrroE+esotMt20nbdpRRnc2HgPVeyxD1ebB2P0spNwLoafeKWiVp+PDsaYLv1Z7tIXTfvLbz9oGEQhOzsyOzxmMBMAHXIrD7xjk6zdkyPdprsWCNrnY5XnIaVQw2vvYagL4gKb9mOFLDjVdyjese9JzCECyxRIQVI6TfpAdGgh1nIgfG/Qiv3Az782xsVcldElPFcV00b9vaCLHvE1L+Z8ADHOmGxfUylLyyr2epir80y7AiYtFAzS+sCwz2VwDAAzjfHTLFXRaY8DUDRtCTuoEIMF0sU8lePujfffip8dXvUH6gdHOJ1Kosw5DsT3ycZRc7e7VE7jo9yBoD0qLKWLtnk59PZuSeeaL/iFcn8IFdxFgHRmeZ1sLhAgnowca7OAnp4QqiMJk35s1KEsxklzNVolScrVizFOQbprIIWDSxCnRHapvkbM44eb1ARgWVzbLzdo2arsL/sICqqWsyQZx+Sb2b1wlGsi0CeS/olozn8IENx4q4YQzv8RxVamErQCmeDSqP+VABN71rYidtJadzxXNBUny+4agxTyXI+ekeD1heD0KcWRxh+LX/faETmhl2KFqkKhFBqkFxGOMCqDmIGaqC3BPEfUeqzJm7lWMT0DXejT29Cs8Zcx6brdqdRogCiLkitmF9TpLKkBHrEeOfxfQNcBBJKiPihDPn+a+br3bGdjjho0B/xWi5NDBI4HgO9ZUkWT6RQFngo19iWzEeF+63idC9REUwAxgehXoTe1Xe6xvS1YmZ+4/93FcUSHhuyuHunJntBRVYuPCAdf9CU35xbHOUtFsYN0q1JiS6G9QVcwBXNPNUTrL5qR9pJwdnoD0Z+/b1nsTgM3bptkxRVlFMriUJ5K4QNTpUfYJJHySOeL7GXqZ5DV9Yp8THV7qW+d2G55dt9soRvnwoVNBb3Anye0BNB+kofRcMmCi59Mm55oRnM8EQC7hno0Gaz625uKGBJHIJ5MqByvn0FgSw9y06ceMgO4+LZWQAyQ2+Y8LvPL9X/m+Izrk4j3ixqfCQMh8oL/Jm+z5oCiqITT3kVAUMhcstoafNFkUe0rQ4qG11dxiU5soFl0a157utykuMDNuRAjSksiUyHw8viYbpQ+PIqpUMdrpiIXLQXoacCYSJg9bI5beJvTIeRwY77X3EnHbxNJ61P4mrEEUmBiaSCosUdIHotjf7Gy5GZTefMNmfLGvk6bO/x+u4n2frcFcW20JDXz/v17OcYSDy4CZeDR8158bqog6Iw2yIKrgx6ue2zUE1lhpGyL756hc34kUPaM3SQjh6craVdmRBT5qJt1Vc3JJVcg607nW2vNcCc30Tp5X7CnZmH8vOdl8qP+BoOvz+KYtTEcRJJ70reTW9F09dgjrqNUX0tkDmiGQW3Bwz4cBjZcpD3O62Jv8BLy7YM6eACrPlLjrQhO5kKHu9mIrf0vNZmd/2f962IGYC57bcU//rPpLtrKfwgpo1uUuSzqNLaDW8WVYO8yv6TCC+qYHphVhhi6r/10aNLdoZPNKuXzBTu8O2TkwyhSuy4QFK3gZ1G1WBFv6VNrxpt3uTRrqne3aZIoiImgYytk8kmWzqf0CIsBmUAInlGkXw8RL+znND7dT66ZvLomR1FhZ460Yzt8qcpZdNduQf2hDVnlDggykmXzfiSNcQhgIzjoT8O9yMQMnbyBIlFYaEPwA50C9hSZ890sOgPgjdoXPWenqIstt+IrRRCZlj9XlnpkZqnszJ+3KJffpXpfMM718DVbe9HZncbqeCeu7flFqpxrmuKviMoGR73JC7zp1B2N7HzOuocimbYDaXBqCIH/KBx4mZe/StsXuATTWd5cYV/153i8q6QHqMjRP3omkRSUUNCTFQDwA1zYIUDqFlz0MsIdWTb64oLvPh/lOoE4nT/BY6+ZH2G1RWIDC4ARMin3YPzTEtl6Z3t734EyniY4z9kNbwx7MFjPMFbL7doyvHHhuJ3lVNqh+mcHWhUS6HevBhyEBB//sRj/rdA4D2o4AlMXQHE6Yj8nIwWt4LLyMYrshP5dfs+82auhrYz2VXw32UkWd/na0UyrG1bQUiPa2k8A6SZdWBWDGVAtW6zk1N6WvZML+JFeU9FBW1g4jVuTcfBQ+QWtS5uEx2csO9N2OBsNi8qdUKRLz58Y40glEAEE5fKWqUtY4uZThhOLSjmVhhcBfeQdb5ExXK5H3D64C+4Ixarrxd5AOgg3FxcQN0kcru6cCKWX/Mc/FWUAPO6S11vLeyhn8FT2Yp6iMxVUvLoyZvnSiC2G9wIAzj3usF4Vz5afsRR2dVuCIU8MiRfA/cE9c5uroGlXA8XPaKgs5QPXwdb5O5RHsiGdNj7eEYrvAjpaitquNxi5B1ErvbfRJ92oR/kpXqaoCA1P0FBGFWo59CIfp6FwI5bLMcvqszsqyTcDZSB4F0/g9xKOVnXmkB3kODd8Ob24wQf3HfYRPlH1A+nQcohHuGpjNXWEHpC+sdxeV+THOMEF5RaAVVmz6yhFTOd6NifC/WPG38RqI+rhS8t1Jvpco/AoFrs2bgd82aD5rIzP/YfwXEJNaGchRwwnvJ6uzL+ujiHhLsRHviKRL07iTSD1be/wlw0axCUS7f0ggvBV5VTGg+1bQT/8a5Aq8hMVfhsz19eqy1yrQzv3YkLXcsegFf5klLOz4jGVm9E+/miZivZhM1atEn5R0FoLYRRejhxwhxU93vSzZK8vxy9ujGeH6a8PYqG0KZTCW826/94jBiPWibv9nK5iwZB5h0gMMfSoquiGsEPIIkrNAJnORjPK14uyMKUqNWU8rviyw6r8xvwQT929iY8U08TqgHKke6c2oAKS27KRdHNEXrIXvwHAfo6HW7yiDxeBcHmrYOJII6qq3SbFyKtLBfA+tfv0eEeYewr+c3dzzg1GzzrlcSnzPC3SUhhsvEirirj0fg1107uBFMMsU2Y8tBJiiF1zWoRxp4nbYN0uGV0sB7HVV0GGzLY1ppSUxIX0URskXER7pXA+VhVuBsaxz96CAgN/++KcUBdmrsTMt4A3/nN8CD58n392BlszgFeNjp9tY4fBxynttzWiq5djd0gcPHXn403qAxCDmS5jglLaIrLdZ6GoTJ2kyj9RG3GD3gFPLhi6t9AOkhVGk0I9NnWTDxH5tmvE9nYSlhk8hLUPkHJVGB+Fqh2MzlK44C5jSfWhkLAnbyxZxpPCoQiBikHo+9mDfXQM3zOH/EKHGnibAH99I2hTfy/u7eQER9mD3aYdjECzV2JAJX9Zc7f/YMwK0E7LJ+U4yh8lETg+oWCXpnTnnrbnHSbVI2cClqJ44RhZnwZI+VXPaCmVii6QA2P8E0/nNr6nQbkdzNuOTVvosY4LBiKJa+P9T06YzImnKIh8HYHiEMOzcbddamfsvu8jOpGa0/wcohPCXeY1h1nRVAkNq07faxrZj9vMraSvFM8FWM0FKt18KX9IwZsMCi8R+lMtRMgOyCvMkl9++9rtGVmXZbeRiDaJ1YsmOYJdVYji1IwsWntoGvw6x1JGAAMYteBMkGaln2KfaZQBvZ+lSU4kXAGMFmY56HoDRPxPmnfeKnKndirBMSU9PG4aUYfNrao8EpbaRV5KTSB2B/xENBrPbyzDSYlLQNieo9HhXtcqv8DrsXL7EMfh4R5Sum0GmrYm6fohcj22HHKofzNkpSuHj4vk1vuebNquFCMbv1acBAFq8t3kmJhyKmxe6hsNMJaWNa+tiJ4pe/3s9xUlk+X3nsJ2OuMh8yGQPZXWFvsN0sbbWfERLCbsSJswHd8mHBYYe218RhWu8/+OlvqZdy2QIH80hW8M5JQLJQUkiLR/7Tg+nUE6zvX8eMLqMYvC1afZuv0jpfwF0gsh6UTcZLJCMfEAv9qzIdfRKlKD/HVbUqvIBFLna27hNiWu+9KnIceMCFjf6V5tbFA2aCNHWMpgqHJG04fH7FRKZFbLQg7L027ncSQHP94l2VScs+w3UDvQnHvK0dPKrgQzaq34GVF6FEPXOBE0GjClElX0dZLmXD0fTjDKh6KRVnZ2WUp2e2xuYlaA5jWJOBpQwQpYNRQgpm00Z4E1VYyY+v8NkZ76cQ+fNFZxQBsCoxQyHpNIWGBl8jYqoXw0jHzKlIoqUK1sJ/7pb6aWGChj5K+VGXlMs0EVnJEoE+E2zpJ4H+xjWYu+0cIjbxrO0d9q7AzouMgl3/IlxO2I7YJw21XlWEG2EqrM9sGg3OSQFbV58eFY4ghkXXbD/PyIgPo8+zOn2Y/5jwXYR9F8oKYZ+NqO5qCWQRkCG4ubBl5f2zMQxn0kbJ7vb7w8NErTeHB+TPCf2BGPSbZXovAcE7TRopAPz87jytr0r1X8OxPiLYJ/eyV93sXVv23U7HIP8FKAKIn5L0oMRu+W75QxMx3d0ipC96VmqM5GvCD1qf9nkxfmDN+3MRBCCv10Rz2yPXLdwv9C2Sl5XqHcVdCAUTBhelyWzg/X8NQlTG6qqr938vYGKPBzp6n+zMCIk2Y8YHKRK3sfAMVxDKhRG/H6JS7peBcnbFsdL0E9t17NB+i5M0ZkOebgq5oA0e8Sr2db38gkh++C0VpOEzeaP8g2WvV4AKRwNaVljZHAiulIGj6BVjdykNLq5CJSTHpmvt4VN4jOOgiwTd8AH9IGg9ZM7YsWG3/fozKt/jnPGh/a6sOHFPNkRFqCZ8AV8+boggkOS1oHrweeUCkcZmCRRTbzc97gmVEVT4UQVbGFWV93kUxdO8IxOlX0U/nN2kgt7IqCjvI22sCUHirQLw+uIAxWdbbWI5xjTQHrwrOv3Xhc3Yx25sEg5JypBbramaLmeCpCsQMCCxE7agjXarAHW3z9MSYVmpvNr5e+by9I7tUDel5ltp+AkBUniujC5Yep4y9RmnUtuOXFqMejEl21zdmZcP8yDaDaSsBdyj7RxGRSpJW9HKoIscpy9atIkO/tpWtahw49eh3dQtBPGAWEJGjRSaKSOChh9988/qt1vHgcaGH94nQivkWpSw4M2ZLdJvfNLAUvatXyCbxM8bSamT5U84BiW5b4DhDw3U3o0crc/joJiN6+iIfhkL2oyrK+qivKKqEGL+TLzNswChvtXXbm4nSCx/1bmNUg7rKGmWeJ1FEwUbQlVT0k8NkMQqsme4yT/ZzLFsxNKYfUB3SomTlDGkiYp74Z7xQt09Ap05IxjDej4AmW+6q9T+7MxQZxQ3E927zrEaTAZi4GiUt+Fefqq0o6i+qxufnfV8XMFMsl4Y7vHBn9eDe1km6pmGqSj63udYzWWQhnidkC0Mw50mMWbHAgu0RJc2FFJ7LesWrJ2XCoasuNVz0RhsKq0uEXXLLADHt3PZ46jE1ORejhXJelb1qT+w6ZAGzkGcG2NMI+Bh16Fw8MFSdst/F7qLHHbsDyccVJ0rzuitlXA2Nac+Qgpv+6Qjgtb7GDhPG396T0cwq7BNGTTlHQbsGAtz29DgQUDOGfmaAMbdwKQ7e0gOAK8WAyFFdncfbHnrleGEvnTpb5BQkt9oZvBh/YNn/lQgG+/7NqihbSGWYGdw8moEXI6IgM7Nr7CNroczKIIkmtFIBBUlXrLqa9lsrdHA9UzuQ0ybF7UbDg0jpiTZ3QGbkDOvJAHIgz1cLlYZdZDHmMaZCFfIO/ixAd/kCyPq+cJ8VoA2WcBBoU4ABbZH9ruj1Ps02fxeOSf8FBRHpUhfiytSPBMbuk/I7VbzQ7TZ98b4ySz8V5DpRWI+luQr1Rma3S2izMOfQq0zF3Px/aO6YmmtrOfRSYNygHTAQfeGjXDYlb2vgXm0nr7IDGARo8CLcMZbuzqXIEtzRSzBJWtQjiUyXf7AqwfQZyeb500Xy1W0S13Zn/5W+tiqe6p0L39pqhwUmduurH5laWelzKVRX+DKMqMxi7Ws1Y+yrOCiocOrO5/JPM2cUxoF+wW7F4nwulBaNN9V6Cno0MZLaVD+4XLteUwdrB6wwIcgVxQe02iyBNi25/i2PTL5N+rH0Ou5/+ahXO2WPmbijetlxwPnWd748KYSkTNozSi1HwLdRwBfIYQGs9T3eHFBphF69u+VerGHszyA+j3I1R2zx0YVmxni2pjClIA8vlu1tSUIjOOwMSK+2Jt12WSPHHw7DY6Z8PUxez9d2bMtd10S3W3XmhazeEiZBNb4h0LNBOkY4wqpK64gCy8XvpNn8kitmLHG0GWRIp76pvTR4H0kE0BNVhYxjSRFJYnX52e0fjUMbsZQYMWeXxb8s5QoxoytW1FVi3GizICPe6IVi+RhXdGXbPRoSUUpsJqZAtHEIYrrSgqKbQ3r5okkraptcQclZZ/x0WYPc1al0TPRYm1+DY1FNUWdI1yfQpzukNisodOFL0AvdXNSbvZo/9c8EmpTOZQ5NQaAaxyHN+6HXLz654Y66DYVnW33ghEESjm8so4mPOt4ollHhjGcmv4juhJJwhbrEoD5T7wlEdlfjGFntnUulincLlp+ayCmjh38h26RtuNNs+jeiAv4H9eni4JBNWu1RwZ/L70yBFy8R7ALGODZJXxXTYqTZuPI10G2mB5uI+lhe2STPru+xv8oF8igbD808ATATFnKBa7IqqBQgQ28AyUryrKAyYp/WLnn8ZGZk8bhgRtcwqESULbr4dtzFxBNaPBa3z2S8NCc0cNEpabthvkX/KOR+BDd65ZCdG4SYm6DfktcdYQREoHfHVGjdT8+vQ7o+g/qx+3rY8UlceqUz3fxDb/Ow32rUhWjvNEKYXZOgSrK2rSNIsB+h5DBC4Fkl1B4GIawXtRMAVkye5d0A3P60Bkfz2F+JAe1/BefBZ3iz6wR8MhTDnzI9m38TUhZ2HvynFT68NuQdRNX9OgTC9zrbgUUFAZiRpSxhvdHOqu1D2MExlM7HtW3iReYIvjxGACyI+Mv9MWGC6eB4KTezWRVxd35ZFXYzPs5blpcSrKVNeNRF1gmQ4PIJI9Xmi2hdlJUAJpE8109k6q/YJ1Q6is9IjPcSlAmYtdD9Ec3Y7WAP0OdFkmIGXET4vjc1XGFfFQz8Vb4YLYlunAJJgxOIZLHM4TUOc2NE7xECxF3HVoRY6WYblHIbcSUEIx2aXfjUl7IPM1B+U3fwyemapxhL1GSHDat346dPLj3gTZ0SKcW/QcCI8Z2sEIvk6uvGV9lRdShr8tuRFBmSMgi34UiDxVeiJRR73d21lp02DB7+3ByEGgcraA/OCt6TYaRqO8LpYFiMPhKBzzRE+WcXZFClueVX2CF04k0HsB3BY4n1jX24A48rU9eHRsijHQmNavBubeD4eaS2oYwNeA24p9+oEgXGjnPEqRVmep9dS9ZU/I7TLHe46XQRS0IROikCDPRzs+t+gpVCtpu1gWe5hIWv35pELk8VK+bqZo/clIArNHGrbNqOW51bSNDjgVeCuZBX5kt6/dtxgON7x84sTevCdJXjzW5quCypoL/DFi2dJ+StX80Y8fYC1sU24xq3ufQVQ7AhSYTYcMp9lkLPrt6syHfEsPFcQhQCxLZSB7ofM98yoRtMu+wZtaiCbXLRGrbgn41pNZd/tF+3Xg/LEO2c1J/2kkqBKVifIVPiOzy8lHfXy5XoOrhykn554q0RhxzCfdKWBgzRzZ9o2K95ZzvVt5lrLHSn0wNWjrBxLI3MibfG7W6CgLnr+GNGNQht9qf/vEREGqS8WUthDKvJDvRc0tsDG7pln0C32jVPnLUo7Yshh19cCPHk1DYyju0D6z1VQYW6SuuIGKXSnOCQ8koLg8lPuGtYN9UlZdDuD4+prKia6tgKha3UKVBkN7cgs6AlP/S8Ta3ra5uEIy+KwKvqCggbWL3VEDUgAeO5fDT4Sr2My79NBzeCyk8Hwqj1qY0SMPrAtHWJMiPND+Ne+7zqVphAhtt6JvzDDHOdzXLR2hZi+zRdf7y1VyPn1gRGC2DnH3sytd03Aoa+fTqE9PL2v+WFRns6vXqmGrxdo3kWmPFzAtYm1ZICYJ07uWOWvCc9NF68TLA/oS0qqz3TLAd/xX7Vrfx+gwCDFiLE5RpGK2yzPtKE6phtr7+bUgQa6N2aMsGW8p+WyIVlJWEyDTp5rIl49cHGVDIcUsZ+Sba1DSe1jUb2SpnIReFNZbyH6HDwPXQ7MJQ0wdCuVs7q1rwr7albnJgpwTvijvGouckGuwcbCoBAJVbYGxypnmlaObwb5N8bIboZoCTadJ5+YspjbLFGoKI+RAoQXY7Ig0v2zRLMK30U0WbJ2uCxzT/eQEHvJl08AKByp04T6cA3UxcV2POMII6Y6E1LwetPy2ZoCRDUFouSFHgjkrqEakJ/yVHRq51VeHu/ecojnfrvfj3fRQfIBYM4Y/xBMHTHrtDRApdpqTfU5tlQJlySlaiMkfZwdPPMUTXeCFwBIecm9UHE/45bJkPKRpOxmmgNwoGqdyWNtCncW2DtWbWb4aHsf/SDU2+XsKsHDKJHcYnUv/MBadH8H3HJSS889WRraSiNOUiTtJfcjUJiB1r7W76mTFPzC+Ma8dnmabO0vTOjX1dCvBpd8+2KAW2W7zlG6orWazCAKqarngWTs4/QdzG6uSKbXIJJWWdvMjMXX8yvtEvUIiNarFYWmLH4pumSPHmpMaoixL4QjpxDXHnJjzuuLB9+og4hjLJk4Kk9ySPjcYYU59Y/ozKHf654HMFzwTKymImi4FvqerDBxHKay5MxipJib0YLa3FgGmKdXfse2sOD+DXSKhEYlg0mtxBWuc0/1op6inxVexmaGZokyn59lYamT3QMNvkEkvfflsj5TNmqajUH2QaNejTr69ShRIkOcbRQslch2sd5e+0cm6z+M7y20VsyEoG47C4SgquEC2oANDpGXC8TaTMzAaNvzKdkNHWFw9MgAPxp9/Egt3aAAJCbJOIQnwcYPi5HleqM9dN/ViJnPqHllgC2Pmbjz2i7An6Du/ugXvEh6TGwCke+z00ndD9DJiJhGQgggiG9PvZQ51GwsIJx61CLPwsbrVZfWxCERz66Rn1cqHcPOev/cOcVWkHy/owY11RWMtrZyc3wkJU5jkiuIWmL83lZfnvuN+lGWjTCyPwej5CUkrhBIQRoi3fRDiPf6LNGzDsBPLK8DAMVR7v9lQyOmIBNK+676LgtUQMSJAlkcZjhckhu+pvhydtEhLj/Qm4uo5lgsGUoDidMxn0kn5XoN83AzoavUYVxzymTkR7zpBVhHzg33LlgUmTuhj2zZLysyvxyXsSdBIXm9QQDSgbAZqsM+1KXwsAt3IB94TTc8t+uDC0SC+jssOMhbA8Vji6ncfhQGRnC7pwmUTX9ymmoB3KelMA2m2Kt1t2eZizKARA4HFq2vr3yvfuMC8vtJan6LXiypz8HyTKjoAU5h46WZBPl0CCwVG/ysXfc/W7JgXO4PYWb7zCFj02BT5ibRgG20y9rpLzDD5vcd+0vIXNI9oH94FvOv2hyAQDnMVKXpkZrfa5aF+hK6W7VFFSv9igH6UgQJD5tCTBivbj72y168mv5n2y47UUCrKhlbeOu+UymwIbCYtBLKHhdHYTT3+/c9kmcWkMJPlftWAe83rDdEOGlT5X4Yvc2Cu+FtuIAEA5eSHlsQQqaA2sWtq1/XBBTT9pux55cx5JV3BZPfcVYjQp+USKDvV1xoRUiLKwPifxzI2v3ddPQgyKZqOjH5nPSI7ZDvsnwiUfmwgvWviko+gdflyapU1uMW8eKHWBJbULd7OToCZ2wCN5FPNBz6wvmlC6qPGnFr75FVcVeWV0ls2ZCCxDCAct6vq03Hs0WB0fllTBsFaclsUkSV0fEfZV4BmwsOh2IFM8grNNdgE1SlukEWXtODJD8ofFxWjHIDQ1TacvQSgoQKiOkCi+0faWgqPbRd9MoLdULLyU1g7Lay8vfl5sxr0eT8eH/uBOnV2kM5ZanTVi63gl3O1ETpt59RWAS1L0ZVA4ELKNZqSubNgAGnolN2XpXNieWm9qAVmwFtxmPEfJv4orhZbEkNPpqk8q+uy8TAlI7K8ADVTG2kNY4ONdiRrk3QMxutftA0q4K95OS4nFIopLxBVtptXaEc83dxqVlIbHoiz0re9Q13z3PAUZHUpL4ktJrMbc3oR21RVPkB9Vi1gBVkmYvbfsxYgxmikhXXXiooYRbBay6bpI1hJJjrHByA5oF2GHjrhwRrbx/YrivD2p+hP2u8dhEL/KJThw5LoXoes5LVbey6S4d2acfZ1jiFg1/ZGm/xPPlPZ0FhKYr9kj9RdDItHXOSat4SZwq0/HAsgCCUHkYhvjcbaNxzkCgl3m5sFBYPVzIPyE+F55IEbKuAvr+JTzIj/gWwFvrjgIx7QLu5EmM6W7IGaGpvuF9QDqt3sVjPkSD5JPzu38IuGWt/SnZaHhU6bEjhVlO8zDoPRhf5OVnnhoYsY7tQLOQB2CfpNc0vXpB2wvxFipexb8ugb0bmHbEipeJRHy/S/tHzRHjYX9OYruJ3qn3O3B8QuU+zL5pEyZKKM+g/egcCI6vAcXK9wyK6wq67PuDgCQJZmPR7Fc7grzg8OAYb2BvKyA132Mu34Q3T6TWmrOtJcxL2dqmyoPb8xa65ge655UkUzcSME0FeCtiDfefL5C1gDb2b3SoKzLZ2JvvfTL2m8IDonfK10tlY6Je7eLTFFMkCIEY0V6/amo38nAN/9U74BCBwK9FHbrFzl2eUp3K2zF/KqPLO1QyCgyr5sEsAid7MwkLVFwPMW+0yW68mXa/Yva0PgsGWm+qsvkcbxHMFQrz9LcQbGbU8SPUoiB94LmVOdWOuKBG3VyKjZWIT/t9xXgPgZ75iDng4RJLD+4RKz5xLq47LbMOJconDGUyuNWOx0FeKJF6ipj45X++tKbCqgJNRhv1wUMtUHzD3axDuCMHNOuDJi4CWqFTgFyyVbVWs8osRMEiAklbwfNcebh/38OY7gZqitgz0OmLRLkG8ZEuVCRCjawWhxOBU4RZZzDbPH/exUDyqS7HmobIxgdb5+OMYJ4ECMWpBhnMRf4f/67SYrhfPpNSqTXXo7/OMLOGNfGFD7v3Z693eNJA/cV1EADWkOsTqtHLRP6sbc54+sgAdFWv1c+mgbp74zt5hIueGB+KemlUoVC46dXkcss7CHSnVpYTrua0BQyBnDTRM4WLHgODMl/t5pVmYLgqk9+9QFnU5y1NagITw2Z0LLJkAfeFE821whFXtZbNkEcKsOtTzHX2yGV8F+el+SpRgsP+tgngUbpC2mXgHQE3O5/w/vE7xgQShFRA2VgJbBhZKGpeziZumDOGuymh5C0SESizXsfZ9WGLtEL5zRB3w7O0f677Lg/58yVkEP1zWifzAW5ijFinBbs1TckFl+v6lUVTKofELTd5TII1UVYcQbYxHU+61CZUbgFB53aWdu5hm96ww0ALNNl2u3VWgjgAIcczSTXklnZuo9YNjFYEY2nMymeBLnofNbmF/29V8yrQQmMqEgkK5jIZVpbFlJiCoxgKa6h/kvozDWK9l2XW7MS5qdd9oZcxuwz99h8bGwmBspmtAwmi+p4XkxOXrnATUQ2YwRkDFoRvvnIqU6rvL83LBRIpPlPVVxQEd9W/4ln+LER3qs2urU1thP9OcNoO6ZmybPuNBBEflfKjb5OtpWCWrXaeqYrl6/MI0uiwEtjQpbbneITg9i7sOJ02oOCnYnglDhOuHDOWFBcHOyoV4aDgfiRSOE+8U6Ba/a7E8Gg+76SXmRIRT2WmyZlg/TmNiFXUKPuEATsHG4PxFmZaEucMz2LTt0esR/KBB+0j33DWHOttvbZ0mp6D39qvDmjTeC4fWJjlgkjc3rFvCRLqahn15YdQTKALeJaouhU6WNMDucsAl/2qW1KLkE337RAoXg6luUP/exUR4NcpMweYLW98mT/sbQj3+H5rqtBswMMsJrRibhjhTpcBCiNZ0soyMa/q31guwTpvO4Oan2+HHU9mcU1Z+VYRjTqDVnHCHaMqmHTMH9dYNeNXKumGjIHIYSbxgPTL+eari+8IsdkQ0V5bfW82RH21tk2cBwxKuC3yVaN+2Up5GReGNMl1pFKESew2Ricvb/ZL2Wd+Z7aPjwRv4k/VbDP+cHn4DhZqNx6+mY3A/PSo76AcVKNcdzx+XbmVhlMBvh4HR20K1/3phVRuG6c5izQLelZ96W8miui2WCq/cmsz0KywH56msRDsLvOJGvlWFgIlAnoNvEjc3KguwZ9acYlDqnRHUfcTC6czLdmGY23lq/uWNoU+uEEOjnAC9CSim9I/7aK4AuN4DHlvi8tIJdt/AngkfvMgudn2WN/oKgZCEskunjNXy7jrJeZ+3kCfiRWhI32FgQZTD3HH4jG004ipkp7NT5jBnXT0oKZi9VIbPk/LvIMsL926zV6A5s2ByIowbPF6Ji4CDD/GqCjqSLGU7KF106RnjqgYbE/Tn47cdmMnTD0pIhOWjdeahBdkPztII+85oxTQMHHGv6F8KCRpSehq7dOs17BLKJAwGc8pdC/pLmAyK5zma8YkqXd1dtMu8DlJlt5cEmEz8c1rHL4rPZSnCIA5cBMYh1F52bOHZ8tLezwFjWiinN02QAlkrPMGoCODwGuf+r7PbFYXclxKdAkI6NOT6iGGKy0lQcwrvJ1vCwHoGV+O8vEAP27lH6KV7KzT87NKKJzXPtspE6NPxyyNIOYKGzTcBs7K+uPeogy5fCaaqaHBZGwE1kj80spwdmJJPKQSAiozBUKe4q7c4Lpj1sv5hVkOkY7UNQCCqEn+p4Dyt7aorSEkQh/daBnMm+dj13vov2eS9DpRx6qMdFc0MdqLVPZalFyZGaUSswKa298dbceO074pmuJ/Bf7Bmv8EF6wy2JAASjnI3IH0Ze8hY473hxN/2M1FiyLlfV3o5Kulo8tLKTvc7y5uzRV6NirZ+Qrzxfb8QQhZ0n/6hI+9rKqG96lN6c07mqAeVYvA5sYqvB8D3YE7FpAwpp33X5BajtAE7wEk68ND9WcLwM08F80yEG9U4vjMfzdJi7yIWT66KVFuVViNOzXUOwZ7MGq0wHJ4BPNfnfb7KTfkkKMHxIteHmRJ8G27SNbhb8fhGTSD/yt/Prt1iOqiH/uuqUHFnGg0ePhW6r5w4vvPES86cLZE30Yi7SF6cbpPYXEP/+0CbwugfLHA0asjbQ+zouqANd+PUYG2s7pIaE0HsCxh1mILBOE9HI+S+3AkPva0OcHUIC45zK8uGMw8GJ6wu2yM9px/QJN2+bWFNNQQAi9w/kzcNZxMAws7An8s2GyHzAF09M2ImGGcm/CKkWeIZw+Rsqfh3EJL2eGmpJbaQ/eWQu8Av+FtWJ3o4wHDw0Rw9xLKbce87UCK/3pSVdUzRFS0KWw6kloewhJ3xhmpzS4HknUIdh4UTLRRMZxni9yXd01Os2gShhNUo4Y0TMt8eWVRdKgbOY7Pi34mdpiABJhKaiKAL2SolL6crY5v4t9tWLbQi7wCas9ug0ZCJtXi6c9ej7gUJNQD3Us0McJrG8Co1gIvHRZu4nt8bKuOSC6v2XqsLERMH0DMZo7b8mD6ZncZcmVkTKhhlUOebS96APDVHjQdF92rmwmgFC7hxwnWA5MATHOyfcM0kpMrWb690pFKcI29N8trSZNsJ2TB9r7/sz41859eOVJDlhhbjAw98nQJtyuR4kujZbzo0bsCbpkGOVr4+CzKwHZ8Pd2K+sXwzQWk9Xq8RM2dvJkup+a0QQ1R3t49Xh03rRxNNRDbZyuv6ipv84ftA/9krCUChHlN0ZcY3NzqFQg1fE7ISZFuRh658Rb1seUZkT+kE+x1qzgH6aQ1gK4bUWo6BXXvpyhG+quvKuk7//uoAC8+Okl1bN1wrqU6y6vAB2bsa3t8aO2DoBrU/x8/ax+P3X4cDTgleEJCW0owjHfIeDDbs4nBWNN2PBY9SbKexFsE+w8VGoD31YvKxLz+ii4U+654R3/ubnJngeEmmnO/61f5Abwarh55nJ7tVcn/zpzxeNPk8i/fEgS2SLKc+Wih6PmRrrTHXe267D+q+0JYPfJ6Qt+SfdRjoVnunhPhrkLFxcX0SIh0D7Mj3q5ltFsLicEGF/fW5WXPbz0GY/buh0pPi4I3CPIbKKVPZcaV4UOY3WUcfrHGQVjuWVXjzrCVFYPPSqLHrf2R18tLaYnKXVt8DBFFv2sueFTQGETCoTXUQoPKZBzzRKbkHxj9S2zEsoszTACS3kqXsWwYyP38nO0jG4jVeJI3/lN6PHArtu+kFKKs/uTVcbcPp5d+vfhFahFe3JC7yjli6zsX0+EnRp6/y2zVdTUDhopubBBNgMr/2qJOgRjL7GQnuZJ6nNL+zTVS3L5eDf0fLLpgnpflva3IruV7DQ0ezVnEw7zLGUOi1lEUceKvzk53hgYpamNUMXeVvxKv0R/NshcEDnTNsrB7pbUbpfnAriw1TAMA2pZMUlA4pL5lYx/wqSiGeQSpSyEg940I9f8bMI4yaau5FbZyn601KINjL7frworXQMXNnf9UEdKqTqGceT2367KaheR1LMtOsL54l/ERKvj4ud4z17ORC2XF8CXcdU4Tnnzk7CkoYkIMysqcMhxsTOH+KIcuMNoCkH4JtNLJXsFqxV5VxiKUIciEEzhmS3kx4ExWJGxrFGbAvOczrExsBLEukghQPa56SkTMj4PQYH0tG50rOifckKOIkBoplQeZIxVw5++9tHYFMU37aJEglbOMPEX0y98dwRnQm7cTbrBVqe43SvHl4ZU6xe4aKMVBVUcHQ8YWm9TZlfXAUJSfPgu4i6FpgwAeSEh+CLaShCPqCHE4tXrFSVsrFn4fFjOeV4KjbXkYsKRmh/DiI9FBC2n3piZlWW/EcAGPmYow1OzqFIJxwssoO63stm4BxhgW8+G7fRR9p9SAn7LbIQH869HQVUnup15t5oXkr2Y/1scV+5ni/l3mAnBGvBVXulsJy1GFLjoE/N5C39tOA7HD8xVyAVKMcA9e4nAUIOi9hzBVsnLGsyjhzakhxpsIqXJrBE9n2lZhQ3u7YhV9cnednabCiXGsowLgLI+kAN/Izw5vREGSMu5KLGaw8hhLstzZOE+k2gCQFP+nBlsq+Ts3gARvO21aBBPOyPGAvFnUUNN9wRQIwVz6YwaNaoMtwXOTZfyi5NdB2wSfh70CI29SpmzDQyW6SQGQKubVdYPEauyyHEYOct4aEL89E7n+sOmSAlof6FnOlNXmAvoDrtPhH4h4b+fYsXcQozAG7KntqqzpoLrEtJs+3K5HSU9oBiBG5Pc3weVN7pr69xQVpl4NFGl0aEYHd4E9R1NcBJLjUInffbbSLIJvpiy0h5RNZwijb0iuhQk2LDuiX5pUAvdaW3ah5Pi5ckQfe9jUTXjW3EjdRVH1qJd2NfsWCR2Aix3OriP6S7a0rgh3hp3f7Zy1AE8P3vkEt+GEGRDXgCdMKSjRMEVB2ryeVBu9QL4kbiO5HL7VuUrRQT6PliWswdgSdp1PRPCV3Jg9LoNDSh/EkVeQ9rPudzT+aquXdYLfafI4wcvKRnXYKc6ZLgG912rPw8azat/4J5rpEw8SqNdJ0bzrv66xzRkWb1R3HkOPeE2ISkREyG5tu3cmS0oKGEpJ2WS4/XqkHXagadMTJZ9FLDXoo6Y06BR2MDNwa45TykB9i1QVm8W9jqbEKZ1xts+ECCx3V943qp/VYxNq779Bw9UQe+7K+Kr2mKN4VUv7+ghLG2vufIo1uCRKBvlfD2/BArLQ2rtOpXZGTQnLfUcdwPV4PJZT50+Ukgk0RAa5iwCZWh0GGf79yGmWYVkSv2u8CTk07pUq/sy52HoTfKJU+rU9hk5W5csroPaYWtkV/bbmYmly5a3NwTVZo8QqqJP59AW1/GOmKDVVTcuoYEUpIeAn3kGFaWu3fYMoP3iy0arcCKhy5vOTew9DNBqNkWmxnI2UQi3LXC1cdfQfTWfagQLzyy6p9CrXOUa4r6Y8aqfhl6woAxsYBGd60NKuGL63gzTP6mc+O1HXTlf4BWfD9R4LY0CF1dJ46SYxIScB0r8oqA+wfWoEI1WT7lZsbif5+tg54dd7BuNGcsHUD8akHsM4L5gvkVgy/LczFhOXvzTySGBDZ2gEyMy+OsRKGqleWj9ZCMuPon2W5LATwGFR6ftHli+epR3hY3aMrovw9VKzAXfIiaLZJYK1OhQq3iJ57GUDAx+glySH8Oz9sJwOq9t+NuFzrOWUiFxJVepggoUCPV5aDgLAnuK2vtrVcb1jpuUJDjCJ0AM16YA52cYkQnpPm4zFBGkP2aGN+GjlJ/7Vp2x1akg90NeJe6yHYdPW6VbJouGLYgHdEiWUPqIgA3yl9fO/7oDv8t4OvKNCysf+aCfTA6EhXRWS+2sb7mQjbEwrEFHesiiquk7oltEBXCTwEegRT4QAN410G+IUFwZd6Y4Slev1DI1wTJm5aoEz3s80qWU0lO3S8iorXMZkWLTGGYMZSU0inB/Tkqcd0ep/H2xeCm+EV313xYAIZSesBHoyqzbsDnIcO4++hsKdskyV1elauhCYoCZ8VvfgINyRH91FOjWIovJBzQqSObq9TvHsINTYoz4Y60pBepUgiWJltJxDVP7mFIvqlo5M9B4QkKQAUEMiPEikz2j83QRedcGni6AqiThK904+bQDxHw5OZXh5B0nXuy87I4XMy9YeSQsN5sYMF8UkfephsS6B3WcAChZxJszMeY+2SROiSgsW02C9nUaGkWPsYt2QX0mvpBERbtxBGnQ2lccmeBrroiBq4uYwP2I+QeAlecyQUPbR36MgBTBUdm8n5bxIV9GYKx3ZcXWAve58R5/GtWSdkDe+XMpf+kFALSe6MaxMwvlvl7UJjVLUb1vZ8dpF3mPY9cZKABT0XY60EF+1NUCD+q8nyiYvzVIVBJoSYrp3CNdwWNSV+GKXghrsy5NoctGDehBMtr46DEyGAv2LWAfaxveuCz2+9id2/VKfksvThH6N7LVOjIPRFt7yYvjb2ZyHzx2AlCL8bNrBnxmC21H94qQpoqjRfi+gXl9JDNdCaLCtXZDFhHpe40amoyqbeUzny11m3pzkeYVMazd10sXxChaQqFmst6ztVyUnKbrWdpTUbBFGdUFG3Y4IrlWrHR7+bPPXiNzBm3qtXQ77WULYNgfJVOX47MOzLLflqxakzJAQSCyKaP+Oeh/Y3tuAvGc8FU4cX8tIpfEitxsPd6gz3YqIRBuH+l2gkQ342gRNgO7X/53/XS6E2vXCalhY2bxJq835mYgwr+f3sP0u0XAvNaD4So/ZB2vgrpxe39x08swi1GxkRBaRaImBOm1v0eFxtahz9W9xpZ3rfIaNju0nwskwZlOrblkNcqB5PgwVqM6S2h/QjpQ1DpiL1IHDvhXss5Ar9qi+uTx/2ZRKkhQVW6KJ7oJpdSvVanLAfNeG5plT5goEci2uuv2HK7Ykj/QBOzMVLKaoCeeQFa1grVBJGIbUYiFX8awxShXyLqaZ7wLE/r0W2jHQS5aX2QSK18A46hC3D3WIr5At/NWBD1qjKWsu9t78T9BjSdIravD2TsMVaBsn50R60V9rUEsQU79ZvXpSU4qLomdpw70d1UgmbSfGgEaj84DbFkwfWTApJPeEfx+5a3L3FjAftkfWf064/Imm5nYAV44MFstOPkcL9MGvXFnuLahpEBy3JETbvA8THymm8/miVxk07KIDuBBd+owIGPL4UQHNT8My8jir9KVsg79/cVj7gI/TjNNcK5zT8Io+W6uorWEk15SBv2Fpi8+gFAjW0cWMfptsH3b3gs5Z6yda/H5Q3OnulKHYgv8f507OXPZJDguO2kYAIkvlQA7LFaAUHUU1Wxh6H5w3JbZxSklnMj/yLKJ4U2YROmdqFsre8Sr9SWvP7Y0rNYmSFsxwcd03OgTSXBzmqABTdkZpr0W0NRMFmcJHNMmJ508n80JmKvg5WpFZuhPaFUuwl78/apf5aTP8u8HuI9HvnDe68cd9OhFrbULV+aO8mUsz7e1U0Fx0E5c5KTwlstnYJ6cEo5hhGpVLHdGxysJzTQM+LlCYsZzkP7VYya/hgzLOqDFLMmKwg8f+DFT4Fx11/a/z4jFDW/mVwjSewfShofQEl7rVcIywFlsl7ZmklJwpmyEcOXUnJTbgT7fdEvkxtqAGBIROOduMvlen7XK2/qnC7hy2zjw6rOvZoIY+gpUMMJq0aHwNnte89TuJKebsYVXT9PbahxHznQD2yA4cRwOFCFbBqEOKrkCjKyl9TAL4RlVIE13iy5ckzTmZ19oGP+ij8soaNqEQ4U6RkibnXiq6WfyefTws9zppO2sFgW/rqEk0grke00UbpbPiMtABuMmbeygxehI6CHt/DrRPcqwzkLHCe9pLimgY8VqCLImq7lKMcPzE0g67F/b++rPHpJhbrW5aaAEpcg200NxsxWOuxK6yN96zmQN0yFY441rWUOwxG2Kjp7hML+awn48Xc3nmIJmwl9GCbIBqmV06aMoFmpNjjyF4O90o/kUGyHbSZ3vshaLzvzj1NfJPS0ta95ebQnsPXv/1tNy9I1MtbPyW4VgIWuC690RyPyjofP8V/x8jLYm0NpH/P/juVcihtTNdre7+CgMiDa/o0uQ5GXjnWsdUWYbAAUdzTJuEJi0EJNJjiDRDbcpQPIyU6t30mDs9crqo87p3E9x0Zf9C8paS1nQbI5RWgvX2nhSl9WfD3uAJWZV9Nrx0I3CbnEyh+z+PlPrH4t4aMvEXFaPfuasDJd/K7RMtzTBVPmC0lrl7Se/d0OiHyqbgR025nr4MP/PrxU1kp1epHcCpRLFjambkK9pYfvPnAGf9xeuEOj4ETNnjLiRZn+bd64tspdcm/zXNkCUN73i+8uGFWFIwdq715gEvKGyDse49MCpjfYT95rfxjGPmcv6xSMZzELQ7RjsyiXpBs+GfxHoRGYsVZQYTCKxr93dn5jfjIOfGZyfFSPrN9sGTzu+ivWBxIeFagyh1vQ6YwJZwebcnlGCPCwjwvftJPbWmPXf6aw91bgfuiVG7bZSMf8gJkNgVGlTLzDtRbbnnq/9w9fbn7yzZkVGhQrf2bidzriz/mIvVJRjugJyBkT7DvZATNMKwYxJw7uR2StpeAT4ArEmhMgbOT36K5nc3oMBex9t19U+XJWvljD5MKW5Rcmyt+J7qC3DfK7VqgJr7s+07sB0YrGWdWs376tEq+jYPK92ZQwvNPBHUj34svDYDD94e6xdmKEouNXvgd1jNBMPI/R38lFMPzWuer2hieOlUKrxuLIlvWB05NXN3AegZ2t5tLOJ3Ikqp/mP3kgQE1NW7dGoxa+6MAdb4iQHqxUyJCCdpUoh2pCdOR7FiMOwURLL/NQQ2VfoK4wMdf+xb3c4kOAAJO4XQEZTi3/FEfDASAMZ29beuUp25e6+b+e1FTcikLjP5VxlV8JKDAGohmv0plV2Jb5a3wo47L29b8CQKIs9QrxMv3Wh2oQ5ge2cYOzgWrdZ5biVYMQP/eZ3BhBz2CTv8H0SHexMDoXKbJoeoe0LosQfO85NtXSTJEnTHkyapuEN6g7j2EiEfcYoG/RoMuMrIndnfy8Qn6CCe4xNkO6LKr45Km5zQzocgt/VnMXswmV/RF7KM9rGGgz8AadPZCLUH3CcJ8ZYxfDXmd99w9/iHHfj0/ca6kHCRac/fuDg7mum1KQiBSL40zFhspG/yRLC0ph6YA21L30a2biyWVO3aKNM9VoDf52rblDE3Kq65JU6aXj3p9xA/ZZdtWlcIZJSz1+Qia/5NQ1xTI7DGysRqwfDA7+Aeh1GVnCpD04Wfjqhih3YfurbreWc8koODfYvkYoP+Ynf74vt4Pk/DGxT3Tj1hKfiiN24K5rXe/BIXGpBlB71yguccyl0S9EzoNzedtLn669apXIlSPdqZjfdsf2O8uWeGRboSScVy2L224xxa93XYK3s93Rbd+VexYKwcYIFN8Un89DDnM5RM3a5CzZBLanfcmbFbhiJf7S6eo/DyrIdjF3u1gBvhsI0He8kKjxuCddm8E3NG0hWR2Z2mqBZQuFMX7EgNpuE+8SpyedrTr+CH9dbrURXYwqRHzFVKf/V8hlPY27Qws4mC88RDcsnhpCB9+Ivwm9NNupSIWbWDyW/ZOQ/XOjl+U5lR8L9i4ZVEzRNXMO5o0gsmtSbmEOMcP4ffIiXI9HxR1pcm1Rd6VVFT6/e2Ml4OPNzw0Lwr/ByF/e9JuQ6f6vwSKL9PGJK6hRZdX1HUHJp4fx0tisV2wpZmqKcGbfmVfs+/hFsettjBUb9wZ9ggxErf+i7h/X8k8usUPo0i5hCbiNtP2S9I3gf/DtNhGcia0HBPGneNv0N1eyqrXny78bKb0iDu6GfgIVLo16GEY/vQh+HC7LrU4CGz8WGkfV9qtxc8AjTm3jL7GZQH2cYbDdcrLZN8rMotAmx/PDwJYl/bBu7oGztMornFmqzDwhy0RkE5XSndWQ6NLFx8jhhuUwouC0EBBKJDgA5FhKvrnRUfJQumW3rr4kNS8OeEAjbhzHUoj8Xilsi3BYwLFYfxrQ8bLHqGrPpyRpOuRD0N4bjNa6gd5PWoWNdKS9G0AYNvdexY31pI9dX7uVqjBPoAxZ/+7ycMVdFM65lgZdThQRjnEQbCnJlvFQDC+Bn8punO5LcAn3qHQId60LUERwceDm+12nlH5grCMjLQZt+w+c2QYNajHcF0rdVhseO+FbXOT9CFoWRrt9duWao54bgWidXlGOpGhF5ElteI1t+jDZIUmW4mJCsm1Tnl38Tre2HPYSFfbQ3juufL8r7E0oTOAzzI3TFF8omKUBMb7x3lY+nNiGS0ndH8kBQn4SikuuOwUVg2rbKOFKGObuS9eI5Kcwp5qvVbnztvjKaPN7WLITEZK4i5Wb0P3WufyoCAsqCkmlhyItrfasIBxrp62WsjQyU74gx+hiXeitZsU04alG26pg75Ta3L8VyQYtz1tQsL3VDgDckI9DiGN2rPEKWpcgbPEI4Chf2pWaTyOdBKZDbO8+bmMnCkn4WvlGiZtNkTEzwyx++1MbOAIbR8rWys4ZLRraDyC3wQwOP1iYOwk3GQlI2ZKZnktjIPbxn5pMXlhLAltnsbTe/WYmWl4neFewV1pk4FwmhyZBEhuhdcGoWl9PAZlLGJ1GNG/N6lbT5QD2EtrNefcS/HmFobtKJ0Sl4DkpZEJyxwOQMTfOb/cRqbwWE/XTyz2IntbLyFqh72RklU15vhZZhYZpmKkzqX7p9AB1cwuvyHLXUUtlHkNC8unsTmjhX7lFFDEMrylHJveZQo2SEwRP3qg4nEeh3tT7A8loob2KndBue515ZosYXqVg49s4qW+VTZOPnXhshZhThl2gFUT7r8H6HE4VM+1Mo4lOm82idSENIzmitS2PoZLRtlDFNBL31jLdYMwfJ1ECVM0dpX+3YtamWUZM3Fad0JTl+Ck86PtRZl4me5+nYScvwLJKGPeIqZqKRa+3qZhWEQKSrXzqS8qEohz9YRLQeW2QKurFbTfxPhCdMVXTKGr8AnYFe1zP3yxPWPS04sNZu0vT1SEXTw2heKEciHqx+mwHaHBjJYShHmCDtD3V0sshKcG1TT7trKW3HySd4EQrnB+SY9t6IHbBO1LNWfoBQ8lLxNCcZ0E1R19sAQXGC34aGreMY4Co9nAUl5B6EvZJeOucQxCG3WALCBxWZ+yO7eT1cwz0MKLhujiQNpqJvmYkt+Fkksv2kMWfvlRZVBSk5RpVd/o2hXBZWTwWpJUjwemLctD+UUaXqKDNzZIJVfSEW0oLXUHrPCCI3yHLMtT12IoLxFylWmPsaAF5yCWWaoBUgINn11+G7Hd+3Oq6HlcpEImdwGhdkRMp8Z+A0Zp0oniF10KC/gVJJtvffBO8ZP7pSRKn3XHLugf7FLD9mkPg3uSVLVQJaD5TYagcr10L9YhjoOLl47Kvf750WIhvtiZsLgbK5va75ElOMo2lHpxjBTj1fFSf+ZfrMgmPwSJ/33BiMyLOv+0l4LpfQdr7J8G+nUvb1ft0MuhBJEvUVqQLUfO50RYWzA98BQRgbkRwtbBK0YLvO3+rSB4xcK4fgyKiBbZ6TUWC4NzdiaJH7cO+/hbPd/A1i9oIaAeSsDlRR8a1veEJIVGVXDfpG405hK404P0sCLUHwgAmmTnEEM9m/Z7gGC3uNa3+5ccPCJigiBTZYPIBVuLgarCbNve81CCnpIGH7Z7k+Loy5tgQliqlD/F+IWXy1a1DEVtybboGnAARMzpugeMFeiNVqGVkbCX91j4X+YqeRPQvKrWuR+qIVlVkHBfOMW2bWxSdme+LUkP+AKVbsUGEJZFlYkYUlvHsaywj6ZlU+ZiIOsWP4cpQNkKTS4SWmsHV6BAssUs694mcOwVHUeyjsAzTRFJyM1acl4OSkQlVexdko1KJa2x9A9oVKXOr7X22mJnZbrjDk1H6YmFkuBGPzcAi6ovDcviSTs9aoF/ISFBhVUc5pw7j1Uu3hsq/zx1MqHAOB+bkOolayw6Q/NwJ1K07qaLsDsmfcWg/TC9IYc5NpTKg+9QtTQA5HRPan+8YT+IQVdV7S0A+cXoQO7S+eTn/V6FQdfYfXs+tyYvw965K+6bw6+X4anYY8BjWy+eofj2HS+dgHIJAllo1AmOw4HUzEDqaWxbFze64iMaTtA8lnZWa7HFu+pb0hEfP3xZxNGSjHOVsSW2+EaA1H2lA2X6acrgJznYtj+/sO6KTQyyly5oUOPrqpmdAxpTkrgVZMxHqhaAynEz07tsnSvG19Y6UbMvcBCeT+8J13nFDFyl+g6eElZxnrwvOwMIdlbXiNTuGn7qzwDYqylHateB210l8gldTBZ3s4kzRnpuHlmI8kp4H+gRZPJFzMzRErSconK1BKu1hBhGhTUgllU1G+ZzJFOo4jTpMSiUkNwPdB1oiy+K05Zbfu5vmll9Uob/WSyzszCws2eSPhyaAK0OCwGrLuBQ+mPdSovTO0un3uTCH+8GXABn4ndNtycrAhR49PQzkvmYzllmHAt1rzKSkx2y9u8Bjmw0CunKTW9ozLqv9AgE7BI7eTEIsBlV2HRe7zqiQUvin59tRlUov7SUREySe1bWtrg5NEMVeA6j0kie98+DshyBbVlIZ9u4Ym/tUib6wqOmXFgC1QAN8A4uoXdApVHJW9Z/4HoZrOP+1zOd1GgdCQhFYKSkXbTb7eYJhQOXZY/q7ih7QTxberBaJ44Lc8z7vS0xmAoPI73l0Yv2Zm4PtxWGRpTi7fcNSHhoJP+RSe6nqR1hKLViu6ZHnbejsL4o28QMqS+t5Tq/2K/WAsXIkfJErhymwzkoFYd5hYsA23bwAclIi4K+tg2TJKEJFH7mElqmDI9YMNUB/uARTBlO1H0NDEhqcTFP+5LqSubW2rhv6fj9pGxr6LF0f3CRZuotiio8jA6SDJ2+4gtLLCR3TzDWlL8atfdqoMt+lCfD4Uk4SKtoqQxc50YIUzVNDwCmI+Ss/NkC6fYxDgbRz2G+wXzoZOykQkKl7JHDkFEbfk/q7We0WdpsNyzxFEsk+zBW1uRo36jE3F3UR+QQozsm83VtkzSraUlFEOMvYHNw84jLojZzX9ctongGTGT5nnV/o3idd8e7MDIKnIyND8RtEEUJNM9p98hPesKGvVQoJVWp+YOD2UT5LSc/pqAzyxOfCSa+wxFFlMBmbQH4wKqvp4fbTuZA5UOPKBYKJPYgBUdawjrVHQj+YNeQ5ZuW8PEFEb3zFUwkA7Qv3V7pj8nUBbUUQs98WfgVUToX2SIouxiVV9OpwM8WZ2vePhtUod88kf4VGXnUIlRzG4Cp41qtFGbldPH9rbVZvGLEB1LFinBGcv+NGIPeUVrwKJzT+Ev6jj9j8vG49T+wjjJjse6kRkZ5Dvg6CS6zMZMgAC8yqRgRTX+pRWXSvqwHKETlv0E61VCDDK+xjY7mO6r/LhHblWY+Wql6ZfotnzvrvGFRg0kxR3Mkt0ErvL7bLi4OmnKaS40Blts5bQzq5SRoO4B1QX56HIDtc91otLuMX+2PlHgjAbKGfwfBfZkL1nAG7Oj3Wjv+H05qdMxb8cClFKbGJLvDc6jDvCQQqRinLKKNhIdLnLNDjLCVMza6VxesjIVbTZ008tjinIrib8WwGB26Fkm7vwJzrJPCprvlZBJSBZFfCd48FuT6UH9ZEgEL4QYr1vXUrJtHZzFZD2m9snocg3TXi58yYHPI9pFmeDsUrFpk3TgP0D6n7SvXPXHfk+smwZHqpJJ8z0TFjO4ammEua2e6GpwwF/0ynLUW+p17/Ki6OsRs1uFKheiGpZkygWmnGlkTEiHXbduUiowdncjP5Qx0F6hVo0JIVaWuVHpehl+nL0QeLE0Kz6LAcOejWKkJjW0Lgq8z+pFhlU+3UT/JCi5BpqFc8hFgMEx+ufE5spNdq3YjwnVbkUuI2Lcwf+HFeHF/QatP3OYGKXLu0dmUR/gfpiiPfoqS6+RbBfhn3MhWWAVNnJIG4830LzPH0gORE1kcDeMHAbYKFUNTR5jG+0TmM+JBw3P71T4YxMhxTL3lMWt9iuaoYQhVGl77MVlWZLxpg2xjPuTHCHvTGiwO2WkgpkvLjeMHZaD97CFBXHVLt7pxGmnD17wk5b8+Iy4PDFglCFmpLfw7e5lJJ9ezC1JbvkFPozYc0B34V+IeUaeO6Z1kAn85ktCgQ/i3EvdiqHZ0KxGjIAYMwsW3NmJj43BMuEptpNneFkUhxKg447vw5RBMxRNeKtfaxP/8H5a2asiDM5IM5IR/u76ak+M5QXPiUGpIwSoUIQNHgULjfxmLJmSOERoWFwXjWlgnoQxkgNw8mTcq4TQC94trUJ4CyqDSJ/2umNQXQuyLsIKCeA1yz36RKiaxhAxGh6TYqVslN0QhR/PYn+tTPSilyinvHHHxIfutWJr7UdlKNXAnDOe9QOu3ZzKJTz0jd/wNYtUtvKyoU+2TB57eBYNAAIcKVDN1HdAZvZJl48HIP9e2yCAdSVZ68yqclW6zZ1VB36nBzJt9qccG3EdE8mjMTLxPW9dDCzqOPqb1ZS5DHnXqW4v9ex9VZuN66Ue2Z9KiUZks5uy2a3B7Hse51bzQlB4ExcTlp2oflcLfCQhlCExEspQEF+QRBkbvtbOtBt4z2bE3Izh/TYD9RAZAJhTHlmtgnu5VjSsmKh69u1PHXFVdqyCW4oWIB/OYe1DbFhvw70NjquR8l9/tJd4ZepyK5sPB2eYDtyqzCn4vW68w3foEl11lfbiFR7cXr+EU8OHdaa7TOoqWe6dPqwzbzz/tVyNu0m7D0Sx1yft0z91SDvKY65J7Yg0NWpD/YTh3jQVOcYrcoh8+Wji+HqlA+DJIUgElH6CZplmj1xnkN0U9s70ggzbvKBZkN/K2L5aUSQ/1wEq5xPD92EmcrjEqN2Nl9BeStKkmdqcHYj8jAcx1N6iICQdRODJ0FNQMryEPgXkppofCuGjzfBhmT1Drydl/MvzNNTAFbXwf4P7iFODiZ2SVKLSRla5a3U0Zps3IJbQR4CDMhtszjWlz93GdHly2qSBHg5/2FjaiUv5Qhog17ONJ4AT+5wvPLPFD3suFQyt2IVXpEU6yZDnn6kE7iOPvJfdOFmUW9PM6nYZ8lHW8U3rd3dnMT9TJB6I2NuwkLggUMoeKkjtIekdheqAMycP/ji5FEJybb+qCSGZ4Q9FDtsPa2e7Ior0YhMI4ADL/AxOTM7sqLz7ka21q4s5L6Eck9MD/TpyDK74aLOlL4RjUYrZ2n6Z0OkSu22twn1EWN8A2MdzmjozQtHndAYbKj99/hG4sj2uMIN5oIE+ZJgF8Qfhu61NHsNyR0zMtdKyc7WhyPW1HxSALsilHTPjIh2N0aNEWEfq8OIYnRSdA3cqE0fIFDFUdzgh6Rwl+ZSTZTR6EAhaNp6FW2X0ROYS1dUd8oBY2GKO5XJMncS/37G+4PZWKwzfQaDIsgZZ6DGRfbqbHCa4/R51CIXhCnjZbsc/++r29e366xSDT3fjF5pfOYQWSTZcj25R5JsaiGkegOmrXRwlmrMIghXnu497Eul2rUfThBMYJepeO2JGJOLXjsJqy6HdV7Lyj6OrKBWdCSLibfiubZHYm1Nk1KSKbyQvsydSDnjQKJ1B7oz6TBKBDhCA4HXB5XSFnihyM6rOXdnKf+FjrT2fig/WzCDk3nteJ7ug8f7Lr38lTY9T6m6NzH7ShPoU8bggYGu/DNnQeo2VZ4mZz2wvCcwWc/fBxkwUOv1aMWl5YLskNdodGRGV2RcYWzwTKGeaEuo/Khp2wxMsCpdN8Z1maFFiBx1D3LA5fGmUxE7c0gvKDoLx7Ikt2WH39WAE5JxwXC4JMl/L8xMRsnsdXNWBQiIpGsCP1E/UuER15k1wNdywLYJ3gquEPInl0GwleFWPA8jLXPwmB1dY8ODy7eV3PvX1SYWeJdMtX6/z+QCDspFvQ0i8Wx8ADgZBFCfr84ZV21mva8tWPuYz6h+ssZRnNrrAliu0Tt59BVDqA9eV1eWdoDAnVxuI5MoKpKmr+Vw4aWH+3V061LGUxuhivbv3dO9I/G4Bm7G7TEos/hIID5PIzN5m26mDLRNw7XV8hsyP69DV0OAeKAd+QbMMsKJapU5Y/SJxpZ+4w6j01HjXN9PUdfPiVy0QrbplebNvH+G69FEhIiEyqic1VtmMClzEVLj1ayBNi86B3oskDS2CaaNwLkkMxI0oyarASlhEyxapvjrEosCO8yOhInU6RKjrozyxQTo0Ui/fGSd6k/uhcg2MDM3fAjcOoxzcGFXRAx5RaPaIjQ0p/Lbs+YETB2mu02rBbppVs2iqsH3gLAoqGV1/ZgjSJNdT3Mi5HoGpYMDFs7aYzhhaKXEt8wgMidGWcQd6gP79yZT44gtwQA/7LKe8iL07KrLz6DtAdiHmEopyFvPCNZOIKcAq/UhdMy0Z8/5hiFfxn+1XC8VY6s7H18zBCUaqpDwkEdIoNC+siRshBZAqVhRsLaYKm0cwvliM/G9HWk6E4xE1WgN7Knom/VyeuJDjeN5SXBSqqQdioJ3eOGP1/qEUA/zUFB7M3PmOXjYi0F9wh2jKwwVPLrHwzBLr6Acrhjt5jeYk6lQMJEuMUJEbgIXjko6wg0anUAoCy1RLLQE29Er1tHEujqLtmxOTHCFKVtzNM7AJaiyIT3V3HrtBX6gayh3YOcdBU2MgHja0u0gjQ7VPAWMjJ6DT0BPr0se/u7t1g41mBxEbw48G+uwBjmRGrFgOMWDRX7l8bjH6nZgQR49TNrwDgL3qlLIiWsqQd34dD8EOe6WidZk31IKvzRZjKcpzBeFFQjX3EJI3LisyvNbou2liEBh5r3u/sFOof9HKMgyn+XKo3B4FvJnXiWmLsLliyfepjqXgNJM+ZqUkAck8/ClvJhDVIqTl4PE9AUBn63251pJQYu62cQzA3E97hbwsoDQ3unvUo4dzAJCY5iRUndRM1HajmuhfjBwbLK+g8asY5rHO1JIVDu2QKELdA7Qp8WBJiZ6vSymF8Qc4lkReVplhTt0NYZEcNbRsDgG9sSV9EGfhcDnM98VxRSNdj3GuczVdce6h69C9PEA+ZyUsGwdzI0Npg5AMc7/sAdTeCxreO0EfNXpmRxc553SP7MpbDsb2eDdGchbB9/wrQBehEVdftyRbIuRrbHlGY8WZw9ef0/2471w/JXPmDCegxm34X2x8512WYte7P0FrhPOfl15sMiLuuU+TDDksE/ORYBJJc6taPMm80JH7R06rGY4eT7pg3S/tToA6/NVadyxAZYQJf8lydh8zgGWjc0y1Ef+dkNusuTOdRaXOgMQ25aB+AUlEiP/F1PL7AuGUJFD7MqhQqkVz4KFH13CxH2KLcbHypwtjM2pbvKJQQlqCLibaa1mnlcoHH1HrQYnXa1Rdg8phc7er2suh6oxT/+iUMikCCUT3Vpiuoay4+xqHfERPE8B0yIMh7HqxCpNSAtH2EVT8MfbyjkuinriMY+zkcCnuu4nkkS/Z8DdwCYVdMEOjoEZWBdJbiOnVLtQu4cSzRJTrKS92kxy2VYyweUS6asykjQveJQi52hDqJJ4b/eiG6STjHHfKxHsHBPaZlP1Kuwlr8gpMxBbcd1Kk8QDEma40u3GMH4kqj0yXttLIIg+17ofL2wDxFUqfiCCm2AZ4xNhdPtsUxwZQ/zMGube/k+WTu4zQUDg3TDDWd8OF4v5NnQSEKHbLbdiNYFHku67V2W2ImcKW237rsxh6AYLlfwQYIZaVjbyxvWrKdE+B3vQji7yivxqNL+cvPUi1BetxPno6q8t4tcRg0ZpDI1Z13gJpsRmUUnhMG4CxLlBCF62WvKJOvPYQSxsEYpBC4F6eT2yggoSlaWAgxNfQD4W1xHDoYNdGmxPMSMusa1xUqQD/GXDXnxjXNWFTCSvB/9pTdr5IoaEd/7PfstEvUymjWT1HZlhQT2o4cSombNa0PNFTs+PU5R+4FtEEp5646kf9BRbS1BFWXBSXWG1praWW1I84iS3J7Xn38mSb4BQ2hisrHt6zg7lcF7kSegqTVLAwTDvcRhGIVR6KKaKaeLXXLAKJVggqK17BqdgxY/L2xGf7gGBpXWtAfPYpxg4SBxDCPq1ffIjCg9H9F1rve/eg88xSjNYak+Xj5bI5DXAV/13soN1cHpiMeFs7U9t58+3A+TRTeXxj8g8S/ieuWnhRN6jhzr9J/rhjCsw9Axh7MD77N1BCHfHooWd0AyNALb1f4f8rC1HxTR1Sx0pzN+as+SfQm7QtLf47IhshBj2cpyjVNjM+HV4wB0mbLNfrwUwXnJ4PGVM8IR7316u3Tx0sYy8k1kL+yyVZdlPtIaDF3sHkpmsBKcp1Cvc+Wilr5enubU3tKFZwytGtBQGGcMMQYPtpTFjYqhW5CxCdkUtkUxK0hg9+AWKAzWfnx2pTqaJeKaescZ+H6bSAhroTCNsPZO6B7YK/rsxxURO0urz5ZHZXw1Cd547DqjdTyYzR/Oa2qzlif5Z/UhBAz9CB9pMP1fyhsIl5BtYCiNLGbycQrFqt9D+Jn/zJSD7VzLq6iggOjdiOZfURqiobnvyRaRK1kvqfgT4VkjuBn33JPsoxnF9u1+sN4OtjqVjR0IIsBPnTgVzzJj+JpI/oc8YXhYJWsAEyMsCBhL08haUUrnreFfrRudY9epCUkwdpmowpi7+Fdm0AoXJ6vn9fysKPAOhmhdfneJeWtWHEEJV1y3fW0z/SLWHoHr09HynCRDSRwlxradeVHEdy1xPGcYSp+5wBE4QbY9Zc58c3jvLfTM+klN6cw9wSap+HEOVn9NK69fW4m4t1CupyB1fEisKSkXKtdN85a6tOu3NJnC7I56wniDDvLIupAcBmfAf517z3KaozXruHm09xIrH08cR3VhYDpk87hsMWFNh1eYNnYfCojbPEVHqD4vMWX7DFPY1r9dsM9uTplBW1bezlqnq1DrIIykUYa9HwZpoFdOqMJEYHVrMgdRXLyXie9WPwbgBfjEHq1VNHZV4uMdmsqft7Kok383NYou/x8FzRfhsx5T463c4Lp/sCFaC/d0h1VAnHcHEJyBKkLj2XXrZni+lXY6yZ90PdBF6FldUy4nr+infkZEamnywWenHL3IRmxdIFQDAHJmadHvHI/sq3Xg6ZwOfzyQeaLcnU+jY8spr98s82+3+wNG0QKOtl6qysztah4lYoz1O0gK72iM6/+A+dlgVmC+no2gT9L9G5nyxPk9a1WWFND9M5VEtyKHoNsE06K+5O0KnxJLTxlGKOcQRuaOPMAaZuH02gh1ngLhTEDIFTKNRiT6etpsN54BmwYUwDuzM+QXHPoFRqO40YuVxEChOvclCTXOIgqVJUNc6Y5/PK6r7ca/ACgDn2MLpuGAyDhyjRSGKWDCRK3tidW7FQGYWmsIa2Kf/RqPGH3+Zzx+lJGGK+fgk/ylKNv33T71DR8v0CneNXDTQvVbuUM+hacpH9sDnXbZULRyAWEp5hFAx+24I6sYwJ1ydZr+eObX+QYx2St9pMbxg9apW+6SOPLd++W3/olhZs6/TervlYJrqeZ6mTtqFt8vaEbBebt9I84h8yB6thQsU42/1zCkTn+5S0ORY6SuA7DasSnlfq0Z9vsG+5+kpGgtXbePpKSuD9Q8+reERPwOyn5L5QsDJrvuyD+1s7ubBYfCp6V5akOj4CPN6WxSzIuVmPq2Q79+Mcn6g99a9GwkC2Du21X8397JeRZE45+8dVIIovN0jHZ1gYW920CjTDuShm9MmD0jSz0XeFEFo3bPFTDug/nAyoROBcgXJCqmZtSSmBqRzPyDfp2AFCFKqYU47uTCUkNVQIEX9qJRI2eRx7iPetxEd/adYtVKxf5f4td+fHKhZCIWndFO+scCpPmWTj9qyBaoaGbtUxiZf5KzMi5sXfWD4sbFPLYebJtJfK8Pdz1Xsr+Bml9aqbVfMaGVljjF5UPG+3lsum1QDf49EZIukB472N0foAYTQpPIPFCtYwxC04dhtgJoZdb7tIAs10EzwZ2jVwFgK7ulvXBHXxmMxuCHpaJOlEsapeik1h4uy4P7ymgK6kySPVcewqMzwEp5KSgUvKpxQp9KwGFOpcoogK08py78NskMSTSb9ouTMygdvGVbCI5X2Aon6pwBvLBxnKlSBBdrHw3ovJXNow+sNBOshzYHdHw8KhrfioA66Ww5kvLlO37Pa1WxSNtY7rK+JmNGuFI2HbKOqwY8yWqQG7qJdhwII4sBtVK7QEl9dhoDTvFYb4Md+VIcY8Y2gRlcJ3lGABI3ZuCNsJBjTfXIlU+4wAj/uL987Qo0ficHwSFEjhe+OF6xsqbTZsc2Ee2XVliQLwGhV2hRHNgbd/trLMOCLCRqzi74SjhgYFOQeLhzkam8JniRToZ7QCc/8yi2b/tg9LZsaALQoNglTKWEdhNhZ1+/kkM5a7fPuabeq6aCzK64jboFvJbP9LQcA4P4gbWz8yjwSSDNsGgV2O/NolK8lVNdaBhP7B56GW/1HGONkuCY1Tud7xnNwSAmmgA+aDh7AjM3t+LbZupZ1xqXPnVOysLWmPdbNKAhHQFabhBw6td3S9ajr9duUUL5rDxSTVu8pX7HfBIkYMdfBkuyaYEsrbwQ98aNa38gw1XX1iET0hbZx1eiZJ6qtZ2SLq6SsRg/n5mJFluTKmDForg6UfBhUnzsyo3Hrpf1vNfKTtRSyU2Ae9rbAMZuqecmktS8guXW803R9aqm2/ZtDc9EKCXQuYWfImlaUdJjJ5oraDypEi84b0O/VHbmCGYZU3qhrBLqeS04c6r2YGJSPqYm+oKmo5pcGX7vEtkdkWc5J56sV8/HyqABArYMeR3CJWZELOZhyqT41aETKzmnWLgJokiB03g0qSWPrhP0zwjjg4+RnqczO8gqRs3QdE1qjGUEsl1PEolZMI49vJB/Y6Wb6c7DLcq1jbn+VjjJ9+5kXuhkxStc/O5EY1dEL2MiYyPBk5DblzIIfIZXQ1sp3jOZo+iJsyWuCZlvfIPPyOrzUvi2qjWTtaflkpwara5OxcVp8swwXCnocu03UE6dE4GiCTai5/cxfXKT/W4roDzDA5jlejtVjOn3eC8k9CtOEwEKig+4p3FTgd+bQvJgnCxlPteR52i+b8wGYbPKsauAzZ6cCg8eqIXwdabMrLWxbqK1iVF/G0pFBA/Zr860bErFoE7E1zu9U4igacY1S9Xt8s73oiF7NlaFIhvDuSTNFROqnj419BH/YyxIULpXqye+AETBHWA4+56nS9kZFfKg46nPOpU3Q08CTp5+xxaQ+SIkaJbbPdtaSE0G5ZGKgQyLPYPlJYaOBylhnuHhA6d4qTXon+kqxbW8eYztrEQdUTUfdYc4jVToLvLwOT0cuIDlhE7oR9QQmLzmE6AsDxpm9MmyO3JBqNLgQM4AAM0etgfldjRgkfZa5LXCNEJOcPaSLozPSb6ASo57yqQ5JyuSgLgNiDAfkBHaLjReZ2lezoYqj1lCFDKzlB0phhKE4DKvM80zt6PemrZXEmu00YD5EhlJcBE8LbmUVAb8ANBcLHIVmB/hlSFdXYxAnROhbRGT8QinNJ/mVc+eR69CjxJccyG4YhN+fr3yOcVok0J5z8ikt/cg0RhyFXNV5hoNKhiKA0OXMllLqHPhbPr7Xy7hRhs7ANqWpAPULVrp0xuMs0rKWLkGlxnl0JZ50dqB5PoHSaOVOT36Qq8NUCBS3bCR09GRO8NU8jVE4zkXXA6LM5RxZ4Ly1vCqVriAmR+jPueHvUxHC+O3XAk5AjWSmyFQ9VTsxCBhnNgGslp+gEV3cvaFSPaeOkVimDFR7VEeuOxMa34tBgyNZTMkXQljrdNlI+tqheTWLfOlWutes2V+JCMy9/5AVVLXlhUbMCk/L4PACcM7tqLOjO1IzOP2PkFLSUyfgIG5UNOS4el2emb9jtArbpLCQhhUBQYFoiPUKqpeCAEfW4s7gVk33i9C5lzdQ5GTT8EW4L1y7eVRHVyM9aRdtxpVdi434bHavJqWjcoX+yZisc95pPtgNFcm6DXkN3FxRIgxEX1B4FPX/d9fNXjX05QsuCrq7QPb4b7esD9aUCs80TnN1lwDFS5Zxz+dEvxUybeO4EwcR9m+QlXX8DJZQ/FCmcb7CSd2bNE/wYYUYfiFNwt68sYehckZxYBOugmKn0m+KSMPDXMicD6uKjjYclC/lHrV5mITqk2z6DODyUdfb4T3GvNNrQv81plUEANBuXsTH5NhKDgcyiui/JeTL2GDHpvxlJWHUVs4je0B0CsvOBJch+r4QW5CrthYfLxbSeUO2Gjo9OACCqlgpEOHwSPYnB73uwQEXaJARxBCytYzBFMDU3ljJol+FkHFfXpSDxMvyfDy3iy1pY4mo63ZBZuZ2wWjRbpeabnQjNKQz4EsliaE7g47GL01CDvF446MzaDkXsFwvDy0ZIlmdLY/9/lcdxagBufBJNPjD6Lj4HwHhSaoTU4oS4cIH9t3DSciZYd4tysw5RdaGNOXZ43wBvHRaKx2BlDJjdKHx+zC3TRd1tk1zb9HtTpx02RRdS5TQ7kNnNjxtUkv7haS68dNmD9rQPhpUNgLhn84tmAqP6LtBDWyWU6UDejAA218+mYaGbTvkHADvjKzNZYmGQ50Y1Z65lyuMEpMR1Eo5Mq3Wfsa4XWPqqmhnN5ZZZWgSyI9eiv4sg3RhAuPHzdcR0OQQ6ybSZKxbsio6eeul5XE2HbllgVx0fhvFC4cPHJ4DKGHF8vbZ2HqRUQBJWGI+ztdxlj+UjGppf4hDbgTgDN6EBOVgE1UgoQ9S6gISnso2OwRWpK1KhHbfkMAQAFufU/L8bJ5aYIkSSYOrjHDa6SY5ykGBuDPz4CMQwz1a+nWYpZA7IO8Pis4ho2LH+fMw1QAxE/RnnnjrTqIPB7aCJrp0cXvRETSIXp2ylTPS0oIVO7U9Ivs+cJD3Viqjczz1HHlU0sospFk6DUZGZcM9dKdIGuhgNCWZmfNwNJbo1ixgxODZV9Go9PA7thHdN0kbtHbz3GtHZmnRd53OixrP9ezS2x+bifX9HvLFCGGW8V6QlCM9ACqFE1SUc6UrqWz2QkzLip0NIfbhOrCXThSm3P9shDEw8gJET1Kt0nybFKDFyanJO5R8zGcGg6mtJxZ+e4YFIXG9Y8BGNXRj/zFQ39f9drGr0eUDnLvubWLEOmZ2ZcWcxhDBUZIduhXM958oLO7ZwRwaoh/mLSTa8ImBXCqWHfj0VRxTmPj4IWEQGwI9qBuXWnLuDxYCZL2dSNH4YzNlSe5jh+qTe0W5P/gXD1w6qdITP6Yj1RStTLfpypT9K24RtgKXboAg+Pi1PGTrfG/+1yjx+1lLek7gRnjYeKXXb9y1Joo8QZJp0oEWhDzFfcgiPz7YBbwskGdG5OhncSfQ8DGww21bTl3j11M3kqqa06KhNCbOeK7p9R5PW6uJTbDRyqvQ6Wq5iEH+mbqa9hVKY+u9yVmZYqcJL5bCiS60qSSB8DAhMzF/6UaWDMlgUps4A6iL7nEKtVkiuwJhri/QigEIHcwueE4Ey54iuretwAECZeQhCMvqKwpXPwkWkHW4pgYG+TRaPh6E/XGhFweEaO1Rx/KX2jBBTcpkInov+CQpMpKLiKguBUeTPc0sRLV/5/RJoWJyqJLfnqmUZb5vGmOA44Ae0BIa9CC+e49wNO3ut7/UeQ5qccMo1RNqmCcziveyTOg2sfyF88SZjgYNdeaPXAu8L/gf1PdmZ37cBP8HE70b3AhPB+jdHOQhCJM3UVHlGGkePVjtq0/TjA/Xo0aNYLB5na8AsIb1VEdWFqW0gsyzHO61NWCIBz18ceTWKFxo0BGLCzRwL905LniTFWKeMmnhK2sut/4jjBR1UhRzmGC4TSBohTOkh6DFQzT05cHo7CKjLqjFNFwAr7qumSmiUezLh+U9vpZeS2TQahjwNlosK4ACAqwEddeaB2GWA+x9uO/1jf0H4PKrYlXButnpI0dO8a6Fg7hxQGzsslFVZ6C0STxk/OXr1qKUvll1F+H4U/ncsvxTZesGokMBb4v6TNH6VSqhvtvpORJz6SAYlP+6E2p1evvd5zQMZ7SjCNFzwJptNYr4ElEPE6A4oAcvAGE2FO0PT780sJNvUpopqlfp31m++J02U/cmY0sltfLEQl9esmR2KY8m5CueqtcL42OwtMfCD/QrbV9HGKG3ZUaWzhiTcKC2Z+56OYxk6L03ch04G1Bf1EL6OWXssPMw8o6gY+XHwFQKdZHGYSBiN9B2kkiL2gxzLap49/7JTAFgLSPRB0ORBN1Yv/kEE="/>
  <p:tag name="MEKKOXMLTAGS" val="1"/>
  <p:tag name="MEKKOEXCEL1" val="C:\Users\nlarson\Box\RIDE Knowledgebase\FCMB updates\Chart Data.xlsm"/>
  <p:tag name="MEKKOEXCEL2" val="zzMG_Chart27"/>
  <p:tag name="MEKKOEXCEL5" val="$B$17:$X$18"/>
</p:tagLst>
</file>

<file path=ppt/theme/theme1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Template</Template>
  <TotalTime>80351</TotalTime>
  <Words>171</Words>
  <Application>Microsoft Office PowerPoint</Application>
  <PresentationFormat>On-screen Show (4:3)</PresentationFormat>
  <Paragraphs>14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Wingdings</vt:lpstr>
      <vt:lpstr>Verdana</vt:lpstr>
      <vt:lpstr>Calibri</vt:lpstr>
      <vt:lpstr>MBTATemplate</vt:lpstr>
      <vt:lpstr>The RIDE Access Center (TRAC) Update </vt:lpstr>
      <vt:lpstr>Postponement of 10/1 Transition</vt:lpstr>
      <vt:lpstr>Slide 3</vt:lpstr>
      <vt:lpstr>Slide 4</vt:lpstr>
      <vt:lpstr>Slide 5</vt:lpstr>
      <vt:lpstr>Slide 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easley</dc:creator>
  <cp:lastModifiedBy>cciampa</cp:lastModifiedBy>
  <cp:revision>2186</cp:revision>
  <cp:lastPrinted>2017-09-25T13:51:58Z</cp:lastPrinted>
  <dcterms:created xsi:type="dcterms:W3CDTF">2016-05-13T14:52:40Z</dcterms:created>
  <dcterms:modified xsi:type="dcterms:W3CDTF">2017-09-25T14:08:06Z</dcterms:modified>
</cp:coreProperties>
</file>